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mp4" ContentType="video/mp4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3" r:id="rId1"/>
    <p:sldMasterId id="2147483728" r:id="rId2"/>
  </p:sldMasterIdLst>
  <p:notesMasterIdLst>
    <p:notesMasterId r:id="rId14"/>
  </p:notesMasterIdLst>
  <p:handoutMasterIdLst>
    <p:handoutMasterId r:id="rId15"/>
  </p:handoutMasterIdLst>
  <p:sldIdLst>
    <p:sldId id="281" r:id="rId3"/>
    <p:sldId id="478" r:id="rId4"/>
    <p:sldId id="479" r:id="rId5"/>
    <p:sldId id="480" r:id="rId6"/>
    <p:sldId id="481" r:id="rId7"/>
    <p:sldId id="482" r:id="rId8"/>
    <p:sldId id="473" r:id="rId9"/>
    <p:sldId id="484" r:id="rId10"/>
    <p:sldId id="475" r:id="rId11"/>
    <p:sldId id="476" r:id="rId12"/>
    <p:sldId id="477" r:id="rId13"/>
  </p:sldIdLst>
  <p:sldSz cx="12192000" cy="6858000"/>
  <p:notesSz cx="6797675" cy="9928225"/>
  <p:custDataLst>
    <p:tags r:id="rId16"/>
  </p:custDataLst>
  <p:defaultTextStyle>
    <a:defPPr>
      <a:defRPr lang="ru-RU"/>
    </a:defPPr>
    <a:lvl1pPr marL="0" algn="l" defTabSz="107274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36372" algn="l" defTabSz="107274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72743" algn="l" defTabSz="107274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09115" algn="l" defTabSz="107274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45487" algn="l" defTabSz="107274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81859" algn="l" defTabSz="107274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18230" algn="l" defTabSz="107274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754602" algn="l" defTabSz="107274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90974" algn="l" defTabSz="107274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1797" userDrawn="1">
          <p15:clr>
            <a:srgbClr val="A4A3A4"/>
          </p15:clr>
        </p15:guide>
        <p15:guide id="3" orient="horz" pos="4156" userDrawn="1">
          <p15:clr>
            <a:srgbClr val="A4A3A4"/>
          </p15:clr>
        </p15:guide>
        <p15:guide id="4" pos="1232" userDrawn="1">
          <p15:clr>
            <a:srgbClr val="A4A3A4"/>
          </p15:clr>
        </p15:guide>
        <p15:guide id="5" pos="7301" userDrawn="1">
          <p15:clr>
            <a:srgbClr val="A4A3A4"/>
          </p15:clr>
        </p15:guide>
        <p15:guide id="6" orient="horz" pos="73" userDrawn="1">
          <p15:clr>
            <a:srgbClr val="A4A3A4"/>
          </p15:clr>
        </p15:guide>
        <p15:guide id="7" orient="horz" pos="3883" userDrawn="1">
          <p15:clr>
            <a:srgbClr val="A4A3A4"/>
          </p15:clr>
        </p15:guide>
        <p15:guide id="8" pos="255" userDrawn="1">
          <p15:clr>
            <a:srgbClr val="A4A3A4"/>
          </p15:clr>
        </p15:guide>
        <p15:guide id="9" pos="7423" userDrawn="1">
          <p15:clr>
            <a:srgbClr val="A4A3A4"/>
          </p15:clr>
        </p15:guide>
        <p15:guide id="10" orient="horz" pos="1775" userDrawn="1">
          <p15:clr>
            <a:srgbClr val="A4A3A4"/>
          </p15:clr>
        </p15:guide>
        <p15:guide id="11" pos="6448" userDrawn="1">
          <p15:clr>
            <a:srgbClr val="A4A3A4"/>
          </p15:clr>
        </p15:guide>
        <p15:guide id="12" pos="7418" userDrawn="1">
          <p15:clr>
            <a:srgbClr val="A4A3A4"/>
          </p15:clr>
        </p15:guide>
        <p15:guide id="13" pos="258" userDrawn="1">
          <p15:clr>
            <a:srgbClr val="A4A3A4"/>
          </p15:clr>
        </p15:guide>
        <p15:guide id="14" pos="7426" userDrawn="1">
          <p15:clr>
            <a:srgbClr val="A4A3A4"/>
          </p15:clr>
        </p15:guide>
        <p15:guide id="15" orient="horz" pos="3077" userDrawn="1">
          <p15:clr>
            <a:srgbClr val="A4A3A4"/>
          </p15:clr>
        </p15:guide>
        <p15:guide id="16" orient="horz" pos="4155" userDrawn="1">
          <p15:clr>
            <a:srgbClr val="A4A3A4"/>
          </p15:clr>
        </p15:guide>
        <p15:guide id="17" orient="horz" pos="3294" userDrawn="1">
          <p15:clr>
            <a:srgbClr val="A4A3A4"/>
          </p15:clr>
        </p15:guide>
        <p15:guide id="18" orient="horz" pos="4163" userDrawn="1">
          <p15:clr>
            <a:srgbClr val="A4A3A4"/>
          </p15:clr>
        </p15:guide>
        <p15:guide id="19" orient="horz" pos="840" userDrawn="1">
          <p15:clr>
            <a:srgbClr val="A4A3A4"/>
          </p15:clr>
        </p15:guide>
        <p15:guide id="20" orient="horz" pos="618" userDrawn="1">
          <p15:clr>
            <a:srgbClr val="A4A3A4"/>
          </p15:clr>
        </p15:guide>
        <p15:guide id="21" pos="26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  <p15:guide id="3" orient="horz" pos="312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8558"/>
    <a:srgbClr val="00985F"/>
    <a:srgbClr val="00A4DE"/>
    <a:srgbClr val="0091C4"/>
    <a:srgbClr val="57068C"/>
    <a:srgbClr val="15FFA6"/>
    <a:srgbClr val="A6A6A6"/>
    <a:srgbClr val="BFBFBF"/>
    <a:srgbClr val="DEDFE0"/>
    <a:srgbClr val="D0C7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50" autoAdjust="0"/>
    <p:restoredTop sz="86957" autoAdjust="0"/>
  </p:normalViewPr>
  <p:slideViewPr>
    <p:cSldViewPr snapToGrid="0" snapToObjects="1" showGuides="1">
      <p:cViewPr>
        <p:scale>
          <a:sx n="140" d="100"/>
          <a:sy n="140" d="100"/>
        </p:scale>
        <p:origin x="-1176" y="-1936"/>
      </p:cViewPr>
      <p:guideLst>
        <p:guide orient="horz" pos="1797"/>
        <p:guide orient="horz" pos="4156"/>
        <p:guide pos="1232"/>
        <p:guide pos="7301"/>
        <p:guide orient="horz" pos="73"/>
        <p:guide orient="horz" pos="3883"/>
        <p:guide pos="255"/>
        <p:guide pos="7423"/>
        <p:guide orient="horz" pos="1775"/>
        <p:guide pos="6448"/>
        <p:guide pos="7418"/>
        <p:guide pos="258"/>
        <p:guide pos="7426"/>
        <p:guide orient="horz" pos="3077"/>
        <p:guide orient="horz" pos="4155"/>
        <p:guide orient="horz" pos="3294"/>
        <p:guide orient="horz" pos="4163"/>
        <p:guide orient="horz" pos="840"/>
        <p:guide orient="horz" pos="618"/>
        <p:guide pos="26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270"/>
    </p:cViewPr>
  </p:sorterViewPr>
  <p:notesViewPr>
    <p:cSldViewPr snapToGrid="0" snapToObjects="1" showGuides="1">
      <p:cViewPr varScale="1">
        <p:scale>
          <a:sx n="61" d="100"/>
          <a:sy n="61" d="100"/>
        </p:scale>
        <p:origin x="-2640" y="-91"/>
      </p:cViewPr>
      <p:guideLst>
        <p:guide orient="horz" pos="3110"/>
        <p:guide pos="2141"/>
        <p:guide orient="horz"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notesMaster" Target="notesMasters/notesMaster1.xml"/><Relationship Id="rId15" Type="http://schemas.openxmlformats.org/officeDocument/2006/relationships/handoutMaster" Target="handoutMasters/handoutMaster1.xml"/><Relationship Id="rId16" Type="http://schemas.openxmlformats.org/officeDocument/2006/relationships/tags" Target="tags/tag1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C0263E-C9EE-E643-B196-E6D94C448A1F}" type="datetimeFigureOut">
              <a:rPr lang="en-US" smtClean="0"/>
              <a:t>5/23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C38B59-0B83-7E47-B588-5AF2DCA417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97915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4F8853-3297-4A16-9464-7ED575D11C48}" type="datetimeFigureOut">
              <a:rPr lang="ru-RU" smtClean="0"/>
              <a:t>23.05.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B3FA93-D4A7-47E2-BBB9-E15276C28BC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384181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7274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6372" algn="l" defTabSz="107274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72743" algn="l" defTabSz="107274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609115" algn="l" defTabSz="107274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45487" algn="l" defTabSz="107274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81859" algn="l" defTabSz="107274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18230" algn="l" defTabSz="107274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754602" algn="l" defTabSz="107274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290974" algn="l" defTabSz="107274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13525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B3FA93-D4A7-47E2-BBB9-E15276C28BC5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89837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i="1" dirty="0" smtClean="0">
                <a:solidFill>
                  <a:srgbClr val="FF0000"/>
                </a:solidFill>
              </a:rPr>
              <a:t>Слайд-иллюстрация. Основная мысль</a:t>
            </a:r>
            <a:r>
              <a:rPr lang="ru-RU" i="1" baseline="0" dirty="0" smtClean="0">
                <a:solidFill>
                  <a:srgbClr val="FF0000"/>
                </a:solidFill>
              </a:rPr>
              <a:t> доносится голосом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i="1" baseline="0" dirty="0" smtClean="0">
              <a:solidFill>
                <a:srgbClr val="FF0000"/>
              </a:solidFill>
            </a:endParaRPr>
          </a:p>
          <a:p>
            <a:r>
              <a:rPr lang="ru-RU" dirty="0" smtClean="0"/>
              <a:t>Бренды готовы</a:t>
            </a:r>
            <a:r>
              <a:rPr lang="ru-RU" baseline="0" dirty="0" smtClean="0"/>
              <a:t> со своей стороны инвестировать в такие решения, однако рынок движется в эту сторону недостаточно быстро. На наш взгляд это происходит из-за инерционного движения многих агентств в сторону удешевления закупок инвентаря по текущим моделям. В своем стремлении заполучить большой аккаунт агентства предлагают заведомо невыполнимые условия закупок, прибегают к субсидированию клиента и другим методам, «сжигающим» ресурсы, которые должны пойти на построение технологических платформ и усилению экспертизы в этой области. Не надо так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643582-E465-DE4D-BA9A-1F9508B7F52D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63992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643582-E465-DE4D-BA9A-1F9508B7F52D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31271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Источник цитаты:</a:t>
            </a:r>
            <a:r>
              <a:rPr lang="ru-RU" baseline="0" dirty="0" smtClean="0"/>
              <a:t> </a:t>
            </a:r>
            <a:r>
              <a:rPr lang="en-US" baseline="0" dirty="0" smtClean="0"/>
              <a:t>https://</a:t>
            </a:r>
            <a:r>
              <a:rPr lang="en-US" baseline="0" dirty="0" err="1" smtClean="0"/>
              <a:t>www.forbes.com</a:t>
            </a:r>
            <a:r>
              <a:rPr lang="en-US" baseline="0" dirty="0" smtClean="0"/>
              <a:t>/</a:t>
            </a:r>
            <a:r>
              <a:rPr lang="en-US" baseline="0" dirty="0" err="1" smtClean="0"/>
              <a:t>forbes</a:t>
            </a:r>
            <a:r>
              <a:rPr lang="en-US" baseline="0" dirty="0" smtClean="0"/>
              <a:t>/welcome/?</a:t>
            </a:r>
            <a:r>
              <a:rPr lang="en-US" baseline="0" dirty="0" err="1" smtClean="0"/>
              <a:t>toURL</a:t>
            </a:r>
            <a:r>
              <a:rPr lang="en-US" baseline="0" dirty="0" smtClean="0"/>
              <a:t>=https://</a:t>
            </a:r>
            <a:r>
              <a:rPr lang="en-US" baseline="0" dirty="0" err="1" smtClean="0"/>
              <a:t>www.forbes.com</a:t>
            </a:r>
            <a:r>
              <a:rPr lang="en-US" baseline="0" dirty="0" smtClean="0"/>
              <a:t>/sites/</a:t>
            </a:r>
            <a:r>
              <a:rPr lang="en-US" baseline="0" dirty="0" err="1" smtClean="0"/>
              <a:t>quora</a:t>
            </a:r>
            <a:r>
              <a:rPr lang="en-US" baseline="0" dirty="0" smtClean="0"/>
              <a:t>/2017/01/11/the-biggest-trend-in-ad-tech-well-see-in-2017-the-pay-per-transaction-model/&amp;</a:t>
            </a:r>
            <a:r>
              <a:rPr lang="en-US" baseline="0" dirty="0" err="1" smtClean="0"/>
              <a:t>refURL</a:t>
            </a:r>
            <a:r>
              <a:rPr lang="en-US" baseline="0" dirty="0" smtClean="0"/>
              <a:t>=https://</a:t>
            </a:r>
            <a:r>
              <a:rPr lang="en-US" baseline="0" dirty="0" err="1" smtClean="0"/>
              <a:t>www.google.ru</a:t>
            </a:r>
            <a:r>
              <a:rPr lang="en-US" baseline="0" dirty="0" smtClean="0"/>
              <a:t>/&amp;referrer=https://</a:t>
            </a:r>
            <a:r>
              <a:rPr lang="en-US" baseline="0" dirty="0" err="1" smtClean="0"/>
              <a:t>www.google.ru</a:t>
            </a:r>
            <a:r>
              <a:rPr lang="en-US" baseline="0" dirty="0" smtClean="0"/>
              <a:t>/</a:t>
            </a:r>
            <a:r>
              <a:rPr lang="ru-RU" baseline="0" dirty="0" smtClean="0"/>
              <a:t>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B3FA93-D4A7-47E2-BBB9-E15276C28BC5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50385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Маркетинг становится все</a:t>
            </a:r>
            <a:r>
              <a:rPr lang="ru-RU" baseline="0" dirty="0" smtClean="0"/>
              <a:t> более важной частью бизнеса. Теперь маркетолог отвечает не только а коммуникацию, но за весь клиентский опыт. Сегодня как никогда много денег маркетологи тратят на информационные технологии и как никогда близко дружат с </a:t>
            </a:r>
            <a:r>
              <a:rPr lang="en-US" baseline="0" dirty="0" smtClean="0"/>
              <a:t>IT</a:t>
            </a:r>
            <a:r>
              <a:rPr lang="ru-RU" baseline="0" dirty="0" smtClean="0"/>
              <a:t>-директорами. </a:t>
            </a:r>
          </a:p>
          <a:p>
            <a:r>
              <a:rPr lang="ru-RU" baseline="0" dirty="0" smtClean="0"/>
              <a:t>В цифровой реальности рушатся традиционные модели «компания-клиент», по другому строится связь «бренд-потребитель». </a:t>
            </a:r>
          </a:p>
          <a:p>
            <a:endParaRPr lang="ru-RU" baseline="0" dirty="0" smtClean="0"/>
          </a:p>
          <a:p>
            <a:r>
              <a:rPr lang="ru-RU" baseline="0" dirty="0" smtClean="0"/>
              <a:t>Трансформация уже влияет на участников игры. Один из самый интересных трендов </a:t>
            </a:r>
            <a:r>
              <a:rPr lang="mr-IN" baseline="0" dirty="0" smtClean="0"/>
              <a:t>–</a:t>
            </a:r>
            <a:r>
              <a:rPr lang="ru-RU" baseline="0" dirty="0" smtClean="0"/>
              <a:t> приход на рекламный и маркетинговый рынок бизнес-консультантов. </a:t>
            </a:r>
            <a:r>
              <a:rPr lang="en-US" baseline="0" dirty="0" smtClean="0"/>
              <a:t>Deloitte, PwC</a:t>
            </a:r>
            <a:r>
              <a:rPr lang="ru-RU" baseline="0" dirty="0" smtClean="0"/>
              <a:t>, </a:t>
            </a:r>
            <a:r>
              <a:rPr lang="en-US" baseline="0" dirty="0" smtClean="0"/>
              <a:t>Accenture </a:t>
            </a:r>
            <a:r>
              <a:rPr lang="ru-RU" baseline="0" dirty="0" smtClean="0"/>
              <a:t>и </a:t>
            </a:r>
            <a:r>
              <a:rPr lang="en-US" baseline="0" dirty="0" smtClean="0"/>
              <a:t>IBM </a:t>
            </a:r>
            <a:r>
              <a:rPr lang="ru-RU" baseline="0" dirty="0" smtClean="0"/>
              <a:t>покупают рекламные, </a:t>
            </a:r>
            <a:r>
              <a:rPr lang="en-US" baseline="0" dirty="0" smtClean="0"/>
              <a:t>digital </a:t>
            </a:r>
            <a:r>
              <a:rPr lang="ru-RU" baseline="0" dirty="0" smtClean="0"/>
              <a:t>и креативные агентства, расширяя свое предложение в области маркетинга. </a:t>
            </a:r>
          </a:p>
          <a:p>
            <a:endParaRPr lang="ru-RU" baseline="0" dirty="0" smtClean="0"/>
          </a:p>
          <a:p>
            <a:r>
              <a:rPr lang="ru-RU" baseline="0" dirty="0" smtClean="0"/>
              <a:t>Эти компании традиционно сильны как раз в разработке решений, которые так нужны брендам в маркетинге, а значит традиционные агентства должны задуматься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B3FA93-D4A7-47E2-BBB9-E15276C28BC5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80788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Маркетинг становится все</a:t>
            </a:r>
            <a:r>
              <a:rPr lang="ru-RU" baseline="0" dirty="0" smtClean="0"/>
              <a:t> более важной частью бизнеса. Теперь маркетолог отвечает не только а коммуникацию, но за весь клиентский опыт. Сегодня как никогда много денег маркетологи тратят на информационные технологии и как никогда близко дружат с </a:t>
            </a:r>
            <a:r>
              <a:rPr lang="en-US" baseline="0" dirty="0" smtClean="0"/>
              <a:t>IT</a:t>
            </a:r>
            <a:r>
              <a:rPr lang="ru-RU" baseline="0" dirty="0" smtClean="0"/>
              <a:t>-директорами. </a:t>
            </a:r>
          </a:p>
          <a:p>
            <a:r>
              <a:rPr lang="ru-RU" baseline="0" dirty="0" smtClean="0"/>
              <a:t>В цифровой реальности рушатся традиционные модели «компания-клиент», по другому строится связь «бренд-потребитель». </a:t>
            </a:r>
          </a:p>
          <a:p>
            <a:endParaRPr lang="ru-RU" baseline="0" dirty="0" smtClean="0"/>
          </a:p>
          <a:p>
            <a:r>
              <a:rPr lang="ru-RU" baseline="0" dirty="0" smtClean="0"/>
              <a:t>Трансформация уже влияет на участников игры. Один из самый интересных трендов </a:t>
            </a:r>
            <a:r>
              <a:rPr lang="mr-IN" baseline="0" dirty="0" smtClean="0"/>
              <a:t>–</a:t>
            </a:r>
            <a:r>
              <a:rPr lang="ru-RU" baseline="0" dirty="0" smtClean="0"/>
              <a:t> приход на рекламный и маркетинговый рынок бизнес-консультантов. </a:t>
            </a:r>
            <a:r>
              <a:rPr lang="en-US" baseline="0" dirty="0" smtClean="0"/>
              <a:t>Deloitte, PwC</a:t>
            </a:r>
            <a:r>
              <a:rPr lang="ru-RU" baseline="0" dirty="0" smtClean="0"/>
              <a:t>, </a:t>
            </a:r>
            <a:r>
              <a:rPr lang="en-US" baseline="0" dirty="0" smtClean="0"/>
              <a:t>Accenture </a:t>
            </a:r>
            <a:r>
              <a:rPr lang="ru-RU" baseline="0" dirty="0" smtClean="0"/>
              <a:t>и </a:t>
            </a:r>
            <a:r>
              <a:rPr lang="en-US" baseline="0" dirty="0" smtClean="0"/>
              <a:t>IBM </a:t>
            </a:r>
            <a:r>
              <a:rPr lang="ru-RU" baseline="0" dirty="0" smtClean="0"/>
              <a:t>покупают рекламные, </a:t>
            </a:r>
            <a:r>
              <a:rPr lang="en-US" baseline="0" dirty="0" smtClean="0"/>
              <a:t>digital </a:t>
            </a:r>
            <a:r>
              <a:rPr lang="ru-RU" baseline="0" dirty="0" smtClean="0"/>
              <a:t>и креативные агентства, расширяя свое предложение в области маркетинга. </a:t>
            </a:r>
          </a:p>
          <a:p>
            <a:endParaRPr lang="ru-RU" baseline="0" dirty="0" smtClean="0"/>
          </a:p>
          <a:p>
            <a:r>
              <a:rPr lang="ru-RU" baseline="0" dirty="0" smtClean="0"/>
              <a:t>Эти компании традиционно сильны как раз в разработке решений, которые так нужны брендам в маркетинге, а значит традиционные агентства должны задуматься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B3FA93-D4A7-47E2-BBB9-E15276C28BC5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12941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R/VR/</a:t>
            </a:r>
            <a:r>
              <a:rPr lang="en-US" baseline="0" dirty="0" smtClean="0"/>
              <a:t>CV/Big Data/3D Printing/Digital ID/</a:t>
            </a:r>
            <a:r>
              <a:rPr lang="en-US" baseline="0" dirty="0" err="1" smtClean="0"/>
              <a:t>IoT</a:t>
            </a:r>
            <a:r>
              <a:rPr lang="ru-RU" baseline="0" dirty="0" smtClean="0"/>
              <a:t> </a:t>
            </a:r>
            <a:r>
              <a:rPr lang="mr-IN" baseline="0" dirty="0" smtClean="0"/>
              <a:t>–</a:t>
            </a:r>
            <a:r>
              <a:rPr lang="ru-RU" baseline="0" dirty="0" smtClean="0"/>
              <a:t> </a:t>
            </a:r>
            <a:r>
              <a:rPr lang="en-US" baseline="0" dirty="0" smtClean="0"/>
              <a:t>hype </a:t>
            </a:r>
            <a:r>
              <a:rPr lang="ru-RU" baseline="0" dirty="0" smtClean="0"/>
              <a:t>ради </a:t>
            </a:r>
            <a:r>
              <a:rPr lang="en-US" baseline="0" dirty="0" smtClean="0"/>
              <a:t>hype</a:t>
            </a:r>
            <a:r>
              <a:rPr lang="ru-RU" baseline="0" dirty="0" smtClean="0"/>
              <a:t>. Реальная ценность технологий лежит в плоскости осознания их возможностей в генерации </a:t>
            </a:r>
            <a:r>
              <a:rPr lang="en-US" baseline="0" dirty="0" smtClean="0"/>
              <a:t>value </a:t>
            </a:r>
            <a:r>
              <a:rPr lang="ru-RU" baseline="0" dirty="0" smtClean="0"/>
              <a:t>для бизнеса. Тот, кто сможет научиться быстро адаптировать возможности прогресса к потребностям бизнеса и выиграет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B3FA93-D4A7-47E2-BBB9-E15276C28BC5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1859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i="1" dirty="0" smtClean="0"/>
              <a:t>Слайд-иллюстрация.</a:t>
            </a:r>
            <a:r>
              <a:rPr lang="ru-RU" i="1" baseline="0" dirty="0" smtClean="0"/>
              <a:t> </a:t>
            </a:r>
          </a:p>
          <a:p>
            <a:r>
              <a:rPr lang="ru-RU" baseline="0" dirty="0" smtClean="0"/>
              <a:t>Простой пример разницы между «технологией» и «решением»: конвейер как движущаяся лента известен со времен Древнего Египта, однако только в начале 20го века эта технология перевернула автомобильную, а затем и всю остальную промышленность, став частью конвейера. Конвейер переосмыслил сам подход к сборке изделия, технологические и бизнес- процессы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B3FA93-D4A7-47E2-BBB9-E15276C28BC5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61409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643582-E465-DE4D-BA9A-1F9508B7F52D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88341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авила игры меняются для всех</a:t>
            </a:r>
            <a:r>
              <a:rPr lang="ru-RU" baseline="0" dirty="0" smtClean="0"/>
              <a:t>: агентства должны стать поставщиками </a:t>
            </a:r>
            <a:r>
              <a:rPr lang="ru-RU" baseline="0" dirty="0" err="1" smtClean="0"/>
              <a:t>технологичеких</a:t>
            </a:r>
            <a:r>
              <a:rPr lang="ru-RU" baseline="0" dirty="0" smtClean="0"/>
              <a:t> решений, которые используют достижения прогресса максимально эффективно, бренды </a:t>
            </a:r>
            <a:r>
              <a:rPr lang="mr-IN" baseline="0" dirty="0" smtClean="0"/>
              <a:t>–</a:t>
            </a:r>
            <a:r>
              <a:rPr lang="ru-RU" baseline="0" dirty="0" smtClean="0"/>
              <a:t> позволять себе эксперименты и пробы, издатели должны уже наконец перестать «чувствовать» аудиторию и начать ее «знать» </a:t>
            </a:r>
            <a:r>
              <a:rPr lang="mr-IN" baseline="0" dirty="0" smtClean="0"/>
              <a:t>–</a:t>
            </a:r>
            <a:r>
              <a:rPr lang="ru-RU" baseline="0" dirty="0" smtClean="0"/>
              <a:t> сегментировать, анализировать и управлять ей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B3FA93-D4A7-47E2-BBB9-E15276C28BC5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46445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 измененной парадигме мира коммуникации бренда больше не что-то</a:t>
            </a:r>
            <a:r>
              <a:rPr lang="ru-RU" baseline="0" dirty="0" smtClean="0"/>
              <a:t> отдельно существующее, а часть опыта потребителя. Поэтому решения, на наш взгляд, должны быть нацелены именно на развитие пользовательского опыт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643582-E465-DE4D-BA9A-1F9508B7F52D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71714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rgbClr val="00985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8080551"/>
              </p:ext>
            </p:extLst>
          </p:nvPr>
        </p:nvGraphicFramePr>
        <p:xfrm>
          <a:off x="1959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9" y="159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 userDrawn="1">
            <p:ph type="ctrTitle" hasCustomPrompt="1"/>
          </p:nvPr>
        </p:nvSpPr>
        <p:spPr>
          <a:xfrm>
            <a:off x="409877" y="3358624"/>
            <a:ext cx="10656451" cy="1218795"/>
          </a:xfrm>
        </p:spPr>
        <p:txBody>
          <a:bodyPr anchor="t" anchorCtr="0">
            <a:sp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</a:t>
            </a:r>
            <a:br>
              <a:rPr lang="ru-RU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 userDrawn="1">
            <p:ph type="subTitle" idx="1"/>
          </p:nvPr>
        </p:nvSpPr>
        <p:spPr>
          <a:xfrm>
            <a:off x="409880" y="4845520"/>
            <a:ext cx="5686120" cy="400110"/>
          </a:xfrm>
        </p:spPr>
        <p:txBody>
          <a:bodyPr wrap="square" lIns="0" rIns="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536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10211192" y="6387198"/>
            <a:ext cx="1583997" cy="210459"/>
            <a:chOff x="10211192" y="6387198"/>
            <a:chExt cx="1583997" cy="210459"/>
          </a:xfrm>
        </p:grpSpPr>
        <p:sp>
          <p:nvSpPr>
            <p:cNvPr id="30" name="Freeform 6"/>
            <p:cNvSpPr>
              <a:spLocks/>
            </p:cNvSpPr>
            <p:nvPr/>
          </p:nvSpPr>
          <p:spPr bwMode="auto">
            <a:xfrm>
              <a:off x="11611312" y="6418213"/>
              <a:ext cx="183877" cy="177229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31" name="Freeform 7"/>
            <p:cNvSpPr>
              <a:spLocks noEditPoints="1"/>
            </p:cNvSpPr>
            <p:nvPr/>
          </p:nvSpPr>
          <p:spPr bwMode="auto">
            <a:xfrm>
              <a:off x="10849222" y="6415998"/>
              <a:ext cx="221538" cy="179444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32" name="Freeform 8"/>
            <p:cNvSpPr>
              <a:spLocks/>
            </p:cNvSpPr>
            <p:nvPr/>
          </p:nvSpPr>
          <p:spPr bwMode="auto">
            <a:xfrm>
              <a:off x="10211192" y="6387198"/>
              <a:ext cx="287999" cy="210459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33" name="Freeform 9"/>
            <p:cNvSpPr>
              <a:spLocks/>
            </p:cNvSpPr>
            <p:nvPr/>
          </p:nvSpPr>
          <p:spPr bwMode="auto">
            <a:xfrm>
              <a:off x="10530207" y="6418213"/>
              <a:ext cx="159507" cy="177229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34" name="Freeform 10"/>
            <p:cNvSpPr>
              <a:spLocks/>
            </p:cNvSpPr>
            <p:nvPr/>
          </p:nvSpPr>
          <p:spPr bwMode="auto">
            <a:xfrm>
              <a:off x="10720730" y="6418213"/>
              <a:ext cx="161723" cy="177229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35" name="Freeform 11"/>
            <p:cNvSpPr>
              <a:spLocks noEditPoints="1"/>
            </p:cNvSpPr>
            <p:nvPr/>
          </p:nvSpPr>
          <p:spPr bwMode="auto">
            <a:xfrm>
              <a:off x="11374267" y="6415998"/>
              <a:ext cx="208246" cy="181659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36" name="Freeform 12"/>
            <p:cNvSpPr>
              <a:spLocks noEditPoints="1"/>
            </p:cNvSpPr>
            <p:nvPr/>
          </p:nvSpPr>
          <p:spPr bwMode="auto">
            <a:xfrm>
              <a:off x="11066329" y="6391629"/>
              <a:ext cx="276922" cy="203813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</p:grpSp>
      <p:sp>
        <p:nvSpPr>
          <p:cNvPr id="76" name="AutoShape 74"/>
          <p:cNvSpPr>
            <a:spLocks noChangeAspect="1" noChangeArrowheads="1" noTextEdit="1"/>
          </p:cNvSpPr>
          <p:nvPr userDrawn="1"/>
        </p:nvSpPr>
        <p:spPr bwMode="auto">
          <a:xfrm>
            <a:off x="3635375" y="157163"/>
            <a:ext cx="2711450" cy="209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80" name="Группа 79"/>
          <p:cNvGrpSpPr/>
          <p:nvPr userDrawn="1"/>
        </p:nvGrpSpPr>
        <p:grpSpPr>
          <a:xfrm>
            <a:off x="7534012" y="1874"/>
            <a:ext cx="3359013" cy="2588091"/>
            <a:chOff x="3632200" y="160338"/>
            <a:chExt cx="2711450" cy="2089150"/>
          </a:xfrm>
        </p:grpSpPr>
        <p:sp>
          <p:nvSpPr>
            <p:cNvPr id="77" name="Freeform 76"/>
            <p:cNvSpPr>
              <a:spLocks/>
            </p:cNvSpPr>
            <p:nvPr userDrawn="1"/>
          </p:nvSpPr>
          <p:spPr bwMode="auto">
            <a:xfrm>
              <a:off x="3632200" y="160338"/>
              <a:ext cx="2711450" cy="2089150"/>
            </a:xfrm>
            <a:custGeom>
              <a:avLst/>
              <a:gdLst>
                <a:gd name="T0" fmla="*/ 57 w 720"/>
                <a:gd name="T1" fmla="*/ 0 h 554"/>
                <a:gd name="T2" fmla="*/ 0 w 720"/>
                <a:gd name="T3" fmla="*/ 194 h 554"/>
                <a:gd name="T4" fmla="*/ 360 w 720"/>
                <a:gd name="T5" fmla="*/ 554 h 554"/>
                <a:gd name="T6" fmla="*/ 720 w 720"/>
                <a:gd name="T7" fmla="*/ 194 h 554"/>
                <a:gd name="T8" fmla="*/ 663 w 720"/>
                <a:gd name="T9" fmla="*/ 0 h 554"/>
                <a:gd name="T10" fmla="*/ 57 w 720"/>
                <a:gd name="T11" fmla="*/ 0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0" h="554">
                  <a:moveTo>
                    <a:pt x="57" y="0"/>
                  </a:moveTo>
                  <a:cubicBezTo>
                    <a:pt x="21" y="56"/>
                    <a:pt x="0" y="123"/>
                    <a:pt x="0" y="194"/>
                  </a:cubicBezTo>
                  <a:cubicBezTo>
                    <a:pt x="0" y="393"/>
                    <a:pt x="161" y="554"/>
                    <a:pt x="360" y="554"/>
                  </a:cubicBezTo>
                  <a:cubicBezTo>
                    <a:pt x="559" y="554"/>
                    <a:pt x="720" y="393"/>
                    <a:pt x="720" y="194"/>
                  </a:cubicBezTo>
                  <a:cubicBezTo>
                    <a:pt x="720" y="123"/>
                    <a:pt x="699" y="56"/>
                    <a:pt x="663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5706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" name="Freeform 77"/>
            <p:cNvSpPr>
              <a:spLocks noEditPoints="1"/>
            </p:cNvSpPr>
            <p:nvPr userDrawn="1"/>
          </p:nvSpPr>
          <p:spPr bwMode="auto">
            <a:xfrm>
              <a:off x="4030663" y="160338"/>
              <a:ext cx="957263" cy="1666875"/>
            </a:xfrm>
            <a:custGeom>
              <a:avLst/>
              <a:gdLst>
                <a:gd name="T0" fmla="*/ 92 w 254"/>
                <a:gd name="T1" fmla="*/ 0 h 442"/>
                <a:gd name="T2" fmla="*/ 0 w 254"/>
                <a:gd name="T3" fmla="*/ 194 h 442"/>
                <a:gd name="T4" fmla="*/ 200 w 254"/>
                <a:gd name="T5" fmla="*/ 442 h 442"/>
                <a:gd name="T6" fmla="*/ 200 w 254"/>
                <a:gd name="T7" fmla="*/ 215 h 442"/>
                <a:gd name="T8" fmla="*/ 219 w 254"/>
                <a:gd name="T9" fmla="*/ 194 h 442"/>
                <a:gd name="T10" fmla="*/ 230 w 254"/>
                <a:gd name="T11" fmla="*/ 194 h 442"/>
                <a:gd name="T12" fmla="*/ 251 w 254"/>
                <a:gd name="T13" fmla="*/ 194 h 442"/>
                <a:gd name="T14" fmla="*/ 254 w 254"/>
                <a:gd name="T15" fmla="*/ 192 h 442"/>
                <a:gd name="T16" fmla="*/ 254 w 254"/>
                <a:gd name="T17" fmla="*/ 0 h 442"/>
                <a:gd name="T18" fmla="*/ 92 w 254"/>
                <a:gd name="T19" fmla="*/ 0 h 442"/>
                <a:gd name="T20" fmla="*/ 205 w 254"/>
                <a:gd name="T21" fmla="*/ 150 h 442"/>
                <a:gd name="T22" fmla="*/ 173 w 254"/>
                <a:gd name="T23" fmla="*/ 118 h 442"/>
                <a:gd name="T24" fmla="*/ 205 w 254"/>
                <a:gd name="T25" fmla="*/ 87 h 442"/>
                <a:gd name="T26" fmla="*/ 236 w 254"/>
                <a:gd name="T27" fmla="*/ 118 h 442"/>
                <a:gd name="T28" fmla="*/ 205 w 254"/>
                <a:gd name="T29" fmla="*/ 15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4" h="442">
                  <a:moveTo>
                    <a:pt x="92" y="0"/>
                  </a:moveTo>
                  <a:cubicBezTo>
                    <a:pt x="36" y="46"/>
                    <a:pt x="0" y="116"/>
                    <a:pt x="0" y="194"/>
                  </a:cubicBezTo>
                  <a:cubicBezTo>
                    <a:pt x="0" y="316"/>
                    <a:pt x="85" y="417"/>
                    <a:pt x="200" y="442"/>
                  </a:cubicBezTo>
                  <a:cubicBezTo>
                    <a:pt x="200" y="215"/>
                    <a:pt x="200" y="215"/>
                    <a:pt x="200" y="215"/>
                  </a:cubicBezTo>
                  <a:cubicBezTo>
                    <a:pt x="200" y="204"/>
                    <a:pt x="209" y="195"/>
                    <a:pt x="219" y="194"/>
                  </a:cubicBezTo>
                  <a:cubicBezTo>
                    <a:pt x="230" y="194"/>
                    <a:pt x="230" y="194"/>
                    <a:pt x="230" y="194"/>
                  </a:cubicBezTo>
                  <a:cubicBezTo>
                    <a:pt x="251" y="194"/>
                    <a:pt x="251" y="194"/>
                    <a:pt x="251" y="194"/>
                  </a:cubicBezTo>
                  <a:cubicBezTo>
                    <a:pt x="253" y="194"/>
                    <a:pt x="254" y="193"/>
                    <a:pt x="254" y="192"/>
                  </a:cubicBezTo>
                  <a:cubicBezTo>
                    <a:pt x="254" y="96"/>
                    <a:pt x="254" y="36"/>
                    <a:pt x="254" y="0"/>
                  </a:cubicBezTo>
                  <a:lnTo>
                    <a:pt x="92" y="0"/>
                  </a:lnTo>
                  <a:close/>
                  <a:moveTo>
                    <a:pt x="205" y="150"/>
                  </a:moveTo>
                  <a:cubicBezTo>
                    <a:pt x="187" y="150"/>
                    <a:pt x="173" y="136"/>
                    <a:pt x="173" y="118"/>
                  </a:cubicBezTo>
                  <a:cubicBezTo>
                    <a:pt x="173" y="101"/>
                    <a:pt x="187" y="87"/>
                    <a:pt x="205" y="87"/>
                  </a:cubicBezTo>
                  <a:cubicBezTo>
                    <a:pt x="222" y="87"/>
                    <a:pt x="236" y="101"/>
                    <a:pt x="236" y="118"/>
                  </a:cubicBezTo>
                  <a:cubicBezTo>
                    <a:pt x="236" y="136"/>
                    <a:pt x="222" y="150"/>
                    <a:pt x="205" y="15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" name="Freeform 78"/>
            <p:cNvSpPr>
              <a:spLocks noEditPoints="1"/>
            </p:cNvSpPr>
            <p:nvPr userDrawn="1"/>
          </p:nvSpPr>
          <p:spPr bwMode="auto">
            <a:xfrm>
              <a:off x="4897438" y="160338"/>
              <a:ext cx="1042988" cy="1689100"/>
            </a:xfrm>
            <a:custGeom>
              <a:avLst/>
              <a:gdLst>
                <a:gd name="T0" fmla="*/ 185 w 277"/>
                <a:gd name="T1" fmla="*/ 0 h 448"/>
                <a:gd name="T2" fmla="*/ 54 w 277"/>
                <a:gd name="T3" fmla="*/ 0 h 448"/>
                <a:gd name="T4" fmla="*/ 54 w 277"/>
                <a:gd name="T5" fmla="*/ 194 h 448"/>
                <a:gd name="T6" fmla="*/ 54 w 277"/>
                <a:gd name="T7" fmla="*/ 204 h 448"/>
                <a:gd name="T8" fmla="*/ 34 w 277"/>
                <a:gd name="T9" fmla="*/ 225 h 448"/>
                <a:gd name="T10" fmla="*/ 24 w 277"/>
                <a:gd name="T11" fmla="*/ 225 h 448"/>
                <a:gd name="T12" fmla="*/ 3 w 277"/>
                <a:gd name="T13" fmla="*/ 225 h 448"/>
                <a:gd name="T14" fmla="*/ 0 w 277"/>
                <a:gd name="T15" fmla="*/ 227 h 448"/>
                <a:gd name="T16" fmla="*/ 0 w 277"/>
                <a:gd name="T17" fmla="*/ 447 h 448"/>
                <a:gd name="T18" fmla="*/ 23 w 277"/>
                <a:gd name="T19" fmla="*/ 448 h 448"/>
                <a:gd name="T20" fmla="*/ 277 w 277"/>
                <a:gd name="T21" fmla="*/ 194 h 448"/>
                <a:gd name="T22" fmla="*/ 185 w 277"/>
                <a:gd name="T23" fmla="*/ 0 h 448"/>
                <a:gd name="T24" fmla="*/ 49 w 277"/>
                <a:gd name="T25" fmla="*/ 333 h 448"/>
                <a:gd name="T26" fmla="*/ 18 w 277"/>
                <a:gd name="T27" fmla="*/ 300 h 448"/>
                <a:gd name="T28" fmla="*/ 49 w 277"/>
                <a:gd name="T29" fmla="*/ 269 h 448"/>
                <a:gd name="T30" fmla="*/ 81 w 277"/>
                <a:gd name="T31" fmla="*/ 300 h 448"/>
                <a:gd name="T32" fmla="*/ 49 w 277"/>
                <a:gd name="T33" fmla="*/ 333 h 448"/>
                <a:gd name="T34" fmla="*/ 123 w 277"/>
                <a:gd name="T35" fmla="*/ 333 h 448"/>
                <a:gd name="T36" fmla="*/ 92 w 277"/>
                <a:gd name="T37" fmla="*/ 300 h 448"/>
                <a:gd name="T38" fmla="*/ 123 w 277"/>
                <a:gd name="T39" fmla="*/ 269 h 448"/>
                <a:gd name="T40" fmla="*/ 155 w 277"/>
                <a:gd name="T41" fmla="*/ 300 h 448"/>
                <a:gd name="T42" fmla="*/ 123 w 277"/>
                <a:gd name="T43" fmla="*/ 333 h 448"/>
                <a:gd name="T44" fmla="*/ 230 w 277"/>
                <a:gd name="T45" fmla="*/ 300 h 448"/>
                <a:gd name="T46" fmla="*/ 197 w 277"/>
                <a:gd name="T47" fmla="*/ 333 h 448"/>
                <a:gd name="T48" fmla="*/ 166 w 277"/>
                <a:gd name="T49" fmla="*/ 300 h 448"/>
                <a:gd name="T50" fmla="*/ 197 w 277"/>
                <a:gd name="T51" fmla="*/ 269 h 448"/>
                <a:gd name="T52" fmla="*/ 230 w 277"/>
                <a:gd name="T53" fmla="*/ 300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77" h="448">
                  <a:moveTo>
                    <a:pt x="185" y="0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54" y="194"/>
                    <a:pt x="54" y="194"/>
                    <a:pt x="54" y="194"/>
                  </a:cubicBezTo>
                  <a:cubicBezTo>
                    <a:pt x="54" y="204"/>
                    <a:pt x="54" y="204"/>
                    <a:pt x="54" y="204"/>
                  </a:cubicBezTo>
                  <a:cubicBezTo>
                    <a:pt x="54" y="215"/>
                    <a:pt x="45" y="225"/>
                    <a:pt x="34" y="225"/>
                  </a:cubicBezTo>
                  <a:cubicBezTo>
                    <a:pt x="24" y="225"/>
                    <a:pt x="24" y="225"/>
                    <a:pt x="24" y="225"/>
                  </a:cubicBezTo>
                  <a:cubicBezTo>
                    <a:pt x="3" y="225"/>
                    <a:pt x="3" y="225"/>
                    <a:pt x="3" y="225"/>
                  </a:cubicBezTo>
                  <a:cubicBezTo>
                    <a:pt x="1" y="225"/>
                    <a:pt x="0" y="226"/>
                    <a:pt x="0" y="227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8" y="447"/>
                    <a:pt x="15" y="448"/>
                    <a:pt x="23" y="448"/>
                  </a:cubicBezTo>
                  <a:cubicBezTo>
                    <a:pt x="163" y="448"/>
                    <a:pt x="277" y="335"/>
                    <a:pt x="277" y="194"/>
                  </a:cubicBezTo>
                  <a:cubicBezTo>
                    <a:pt x="277" y="116"/>
                    <a:pt x="241" y="46"/>
                    <a:pt x="185" y="0"/>
                  </a:cubicBezTo>
                  <a:close/>
                  <a:moveTo>
                    <a:pt x="49" y="333"/>
                  </a:moveTo>
                  <a:cubicBezTo>
                    <a:pt x="32" y="333"/>
                    <a:pt x="18" y="319"/>
                    <a:pt x="18" y="300"/>
                  </a:cubicBezTo>
                  <a:cubicBezTo>
                    <a:pt x="18" y="283"/>
                    <a:pt x="32" y="269"/>
                    <a:pt x="49" y="269"/>
                  </a:cubicBezTo>
                  <a:cubicBezTo>
                    <a:pt x="67" y="269"/>
                    <a:pt x="81" y="283"/>
                    <a:pt x="81" y="300"/>
                  </a:cubicBezTo>
                  <a:cubicBezTo>
                    <a:pt x="81" y="319"/>
                    <a:pt x="67" y="333"/>
                    <a:pt x="49" y="333"/>
                  </a:cubicBezTo>
                  <a:close/>
                  <a:moveTo>
                    <a:pt x="123" y="333"/>
                  </a:moveTo>
                  <a:cubicBezTo>
                    <a:pt x="106" y="333"/>
                    <a:pt x="92" y="319"/>
                    <a:pt x="92" y="300"/>
                  </a:cubicBezTo>
                  <a:cubicBezTo>
                    <a:pt x="92" y="283"/>
                    <a:pt x="106" y="269"/>
                    <a:pt x="123" y="269"/>
                  </a:cubicBezTo>
                  <a:cubicBezTo>
                    <a:pt x="141" y="269"/>
                    <a:pt x="155" y="283"/>
                    <a:pt x="155" y="300"/>
                  </a:cubicBezTo>
                  <a:cubicBezTo>
                    <a:pt x="155" y="319"/>
                    <a:pt x="141" y="333"/>
                    <a:pt x="123" y="333"/>
                  </a:cubicBezTo>
                  <a:close/>
                  <a:moveTo>
                    <a:pt x="230" y="300"/>
                  </a:moveTo>
                  <a:cubicBezTo>
                    <a:pt x="230" y="319"/>
                    <a:pt x="216" y="333"/>
                    <a:pt x="197" y="333"/>
                  </a:cubicBezTo>
                  <a:cubicBezTo>
                    <a:pt x="180" y="333"/>
                    <a:pt x="166" y="319"/>
                    <a:pt x="166" y="300"/>
                  </a:cubicBezTo>
                  <a:cubicBezTo>
                    <a:pt x="166" y="283"/>
                    <a:pt x="180" y="269"/>
                    <a:pt x="197" y="269"/>
                  </a:cubicBezTo>
                  <a:cubicBezTo>
                    <a:pt x="216" y="269"/>
                    <a:pt x="230" y="283"/>
                    <a:pt x="230" y="3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55953045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Группа 6"/>
          <p:cNvGrpSpPr/>
          <p:nvPr userDrawn="1"/>
        </p:nvGrpSpPr>
        <p:grpSpPr bwMode="ltGray">
          <a:xfrm>
            <a:off x="1712285" y="0"/>
            <a:ext cx="10479716" cy="6432331"/>
            <a:chOff x="251362" y="-14567"/>
            <a:chExt cx="9654638" cy="6026420"/>
          </a:xfrm>
        </p:grpSpPr>
        <p:sp>
          <p:nvSpPr>
            <p:cNvPr id="20" name="Freeform 6"/>
            <p:cNvSpPr>
              <a:spLocks/>
            </p:cNvSpPr>
            <p:nvPr userDrawn="1"/>
          </p:nvSpPr>
          <p:spPr bwMode="ltGray">
            <a:xfrm flipH="1">
              <a:off x="870000" y="-13390"/>
              <a:ext cx="9036000" cy="6025243"/>
            </a:xfrm>
            <a:custGeom>
              <a:avLst/>
              <a:gdLst>
                <a:gd name="T0" fmla="*/ 0 w 6236"/>
                <a:gd name="T1" fmla="*/ 4030 h 4217"/>
                <a:gd name="T2" fmla="*/ 121 w 6236"/>
                <a:gd name="T3" fmla="*/ 4062 h 4217"/>
                <a:gd name="T4" fmla="*/ 359 w 6236"/>
                <a:gd name="T5" fmla="*/ 4117 h 4217"/>
                <a:gd name="T6" fmla="*/ 601 w 6236"/>
                <a:gd name="T7" fmla="*/ 4160 h 4217"/>
                <a:gd name="T8" fmla="*/ 849 w 6236"/>
                <a:gd name="T9" fmla="*/ 4193 h 4217"/>
                <a:gd name="T10" fmla="*/ 1101 w 6236"/>
                <a:gd name="T11" fmla="*/ 4212 h 4217"/>
                <a:gd name="T12" fmla="*/ 1354 w 6236"/>
                <a:gd name="T13" fmla="*/ 4217 h 4217"/>
                <a:gd name="T14" fmla="*/ 1607 w 6236"/>
                <a:gd name="T15" fmla="*/ 4212 h 4217"/>
                <a:gd name="T16" fmla="*/ 1859 w 6236"/>
                <a:gd name="T17" fmla="*/ 4193 h 4217"/>
                <a:gd name="T18" fmla="*/ 2105 w 6236"/>
                <a:gd name="T19" fmla="*/ 4160 h 4217"/>
                <a:gd name="T20" fmla="*/ 2349 w 6236"/>
                <a:gd name="T21" fmla="*/ 4117 h 4217"/>
                <a:gd name="T22" fmla="*/ 2587 w 6236"/>
                <a:gd name="T23" fmla="*/ 4062 h 4217"/>
                <a:gd name="T24" fmla="*/ 2821 w 6236"/>
                <a:gd name="T25" fmla="*/ 3996 h 4217"/>
                <a:gd name="T26" fmla="*/ 3050 w 6236"/>
                <a:gd name="T27" fmla="*/ 3918 h 4217"/>
                <a:gd name="T28" fmla="*/ 3275 w 6236"/>
                <a:gd name="T29" fmla="*/ 3830 h 4217"/>
                <a:gd name="T30" fmla="*/ 3493 w 6236"/>
                <a:gd name="T31" fmla="*/ 3731 h 4217"/>
                <a:gd name="T32" fmla="*/ 3706 w 6236"/>
                <a:gd name="T33" fmla="*/ 3623 h 4217"/>
                <a:gd name="T34" fmla="*/ 3912 w 6236"/>
                <a:gd name="T35" fmla="*/ 3504 h 4217"/>
                <a:gd name="T36" fmla="*/ 4113 w 6236"/>
                <a:gd name="T37" fmla="*/ 3376 h 4217"/>
                <a:gd name="T38" fmla="*/ 4306 w 6236"/>
                <a:gd name="T39" fmla="*/ 3238 h 4217"/>
                <a:gd name="T40" fmla="*/ 4493 w 6236"/>
                <a:gd name="T41" fmla="*/ 3092 h 4217"/>
                <a:gd name="T42" fmla="*/ 4671 w 6236"/>
                <a:gd name="T43" fmla="*/ 2937 h 4217"/>
                <a:gd name="T44" fmla="*/ 4843 w 6236"/>
                <a:gd name="T45" fmla="*/ 2772 h 4217"/>
                <a:gd name="T46" fmla="*/ 5005 w 6236"/>
                <a:gd name="T47" fmla="*/ 2602 h 4217"/>
                <a:gd name="T48" fmla="*/ 5160 w 6236"/>
                <a:gd name="T49" fmla="*/ 2423 h 4217"/>
                <a:gd name="T50" fmla="*/ 5308 w 6236"/>
                <a:gd name="T51" fmla="*/ 2235 h 4217"/>
                <a:gd name="T52" fmla="*/ 5446 w 6236"/>
                <a:gd name="T53" fmla="*/ 2042 h 4217"/>
                <a:gd name="T54" fmla="*/ 5573 w 6236"/>
                <a:gd name="T55" fmla="*/ 1842 h 4217"/>
                <a:gd name="T56" fmla="*/ 5692 w 6236"/>
                <a:gd name="T57" fmla="*/ 1636 h 4217"/>
                <a:gd name="T58" fmla="*/ 5801 w 6236"/>
                <a:gd name="T59" fmla="*/ 1422 h 4217"/>
                <a:gd name="T60" fmla="*/ 5900 w 6236"/>
                <a:gd name="T61" fmla="*/ 1205 h 4217"/>
                <a:gd name="T62" fmla="*/ 5989 w 6236"/>
                <a:gd name="T63" fmla="*/ 980 h 4217"/>
                <a:gd name="T64" fmla="*/ 6066 w 6236"/>
                <a:gd name="T65" fmla="*/ 751 h 4217"/>
                <a:gd name="T66" fmla="*/ 6132 w 6236"/>
                <a:gd name="T67" fmla="*/ 516 h 4217"/>
                <a:gd name="T68" fmla="*/ 6187 w 6236"/>
                <a:gd name="T69" fmla="*/ 278 h 4217"/>
                <a:gd name="T70" fmla="*/ 6231 w 6236"/>
                <a:gd name="T71" fmla="*/ 34 h 4217"/>
                <a:gd name="T72" fmla="*/ 0 w 6236"/>
                <a:gd name="T73" fmla="*/ 0 h 4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236" h="4217">
                  <a:moveTo>
                    <a:pt x="0" y="0"/>
                  </a:moveTo>
                  <a:lnTo>
                    <a:pt x="0" y="4030"/>
                  </a:lnTo>
                  <a:lnTo>
                    <a:pt x="4" y="4030"/>
                  </a:lnTo>
                  <a:lnTo>
                    <a:pt x="121" y="4062"/>
                  </a:lnTo>
                  <a:lnTo>
                    <a:pt x="240" y="4092"/>
                  </a:lnTo>
                  <a:lnTo>
                    <a:pt x="359" y="4117"/>
                  </a:lnTo>
                  <a:lnTo>
                    <a:pt x="480" y="4142"/>
                  </a:lnTo>
                  <a:lnTo>
                    <a:pt x="601" y="4160"/>
                  </a:lnTo>
                  <a:lnTo>
                    <a:pt x="726" y="4178"/>
                  </a:lnTo>
                  <a:lnTo>
                    <a:pt x="849" y="4193"/>
                  </a:lnTo>
                  <a:lnTo>
                    <a:pt x="974" y="4204"/>
                  </a:lnTo>
                  <a:lnTo>
                    <a:pt x="1101" y="4212"/>
                  </a:lnTo>
                  <a:lnTo>
                    <a:pt x="1227" y="4217"/>
                  </a:lnTo>
                  <a:lnTo>
                    <a:pt x="1354" y="4217"/>
                  </a:lnTo>
                  <a:lnTo>
                    <a:pt x="1481" y="4217"/>
                  </a:lnTo>
                  <a:lnTo>
                    <a:pt x="1607" y="4212"/>
                  </a:lnTo>
                  <a:lnTo>
                    <a:pt x="1734" y="4204"/>
                  </a:lnTo>
                  <a:lnTo>
                    <a:pt x="1859" y="4193"/>
                  </a:lnTo>
                  <a:lnTo>
                    <a:pt x="1982" y="4178"/>
                  </a:lnTo>
                  <a:lnTo>
                    <a:pt x="2105" y="4160"/>
                  </a:lnTo>
                  <a:lnTo>
                    <a:pt x="2227" y="4142"/>
                  </a:lnTo>
                  <a:lnTo>
                    <a:pt x="2349" y="4117"/>
                  </a:lnTo>
                  <a:lnTo>
                    <a:pt x="2468" y="4092"/>
                  </a:lnTo>
                  <a:lnTo>
                    <a:pt x="2587" y="4062"/>
                  </a:lnTo>
                  <a:lnTo>
                    <a:pt x="2704" y="4030"/>
                  </a:lnTo>
                  <a:lnTo>
                    <a:pt x="2821" y="3996"/>
                  </a:lnTo>
                  <a:lnTo>
                    <a:pt x="2937" y="3958"/>
                  </a:lnTo>
                  <a:lnTo>
                    <a:pt x="3050" y="3918"/>
                  </a:lnTo>
                  <a:lnTo>
                    <a:pt x="3163" y="3875"/>
                  </a:lnTo>
                  <a:lnTo>
                    <a:pt x="3275" y="3830"/>
                  </a:lnTo>
                  <a:lnTo>
                    <a:pt x="3385" y="3782"/>
                  </a:lnTo>
                  <a:lnTo>
                    <a:pt x="3493" y="3731"/>
                  </a:lnTo>
                  <a:lnTo>
                    <a:pt x="3600" y="3678"/>
                  </a:lnTo>
                  <a:lnTo>
                    <a:pt x="3706" y="3623"/>
                  </a:lnTo>
                  <a:lnTo>
                    <a:pt x="3810" y="3565"/>
                  </a:lnTo>
                  <a:lnTo>
                    <a:pt x="3912" y="3504"/>
                  </a:lnTo>
                  <a:lnTo>
                    <a:pt x="4013" y="3440"/>
                  </a:lnTo>
                  <a:lnTo>
                    <a:pt x="4113" y="3376"/>
                  </a:lnTo>
                  <a:lnTo>
                    <a:pt x="4209" y="3308"/>
                  </a:lnTo>
                  <a:lnTo>
                    <a:pt x="4306" y="3238"/>
                  </a:lnTo>
                  <a:lnTo>
                    <a:pt x="4400" y="3166"/>
                  </a:lnTo>
                  <a:lnTo>
                    <a:pt x="4493" y="3092"/>
                  </a:lnTo>
                  <a:lnTo>
                    <a:pt x="4582" y="3014"/>
                  </a:lnTo>
                  <a:lnTo>
                    <a:pt x="4671" y="2937"/>
                  </a:lnTo>
                  <a:lnTo>
                    <a:pt x="4758" y="2856"/>
                  </a:lnTo>
                  <a:lnTo>
                    <a:pt x="4843" y="2772"/>
                  </a:lnTo>
                  <a:lnTo>
                    <a:pt x="4926" y="2687"/>
                  </a:lnTo>
                  <a:lnTo>
                    <a:pt x="5005" y="2602"/>
                  </a:lnTo>
                  <a:lnTo>
                    <a:pt x="5085" y="2513"/>
                  </a:lnTo>
                  <a:lnTo>
                    <a:pt x="5160" y="2423"/>
                  </a:lnTo>
                  <a:lnTo>
                    <a:pt x="5236" y="2330"/>
                  </a:lnTo>
                  <a:lnTo>
                    <a:pt x="5308" y="2235"/>
                  </a:lnTo>
                  <a:lnTo>
                    <a:pt x="5378" y="2141"/>
                  </a:lnTo>
                  <a:lnTo>
                    <a:pt x="5446" y="2042"/>
                  </a:lnTo>
                  <a:lnTo>
                    <a:pt x="5510" y="1944"/>
                  </a:lnTo>
                  <a:lnTo>
                    <a:pt x="5573" y="1842"/>
                  </a:lnTo>
                  <a:lnTo>
                    <a:pt x="5635" y="1740"/>
                  </a:lnTo>
                  <a:lnTo>
                    <a:pt x="5692" y="1636"/>
                  </a:lnTo>
                  <a:lnTo>
                    <a:pt x="5748" y="1530"/>
                  </a:lnTo>
                  <a:lnTo>
                    <a:pt x="5801" y="1422"/>
                  </a:lnTo>
                  <a:lnTo>
                    <a:pt x="5852" y="1314"/>
                  </a:lnTo>
                  <a:lnTo>
                    <a:pt x="5900" y="1205"/>
                  </a:lnTo>
                  <a:lnTo>
                    <a:pt x="5945" y="1093"/>
                  </a:lnTo>
                  <a:lnTo>
                    <a:pt x="5989" y="980"/>
                  </a:lnTo>
                  <a:lnTo>
                    <a:pt x="6028" y="866"/>
                  </a:lnTo>
                  <a:lnTo>
                    <a:pt x="6066" y="751"/>
                  </a:lnTo>
                  <a:lnTo>
                    <a:pt x="6100" y="634"/>
                  </a:lnTo>
                  <a:lnTo>
                    <a:pt x="6132" y="516"/>
                  </a:lnTo>
                  <a:lnTo>
                    <a:pt x="6161" y="397"/>
                  </a:lnTo>
                  <a:lnTo>
                    <a:pt x="6187" y="278"/>
                  </a:lnTo>
                  <a:lnTo>
                    <a:pt x="6210" y="157"/>
                  </a:lnTo>
                  <a:lnTo>
                    <a:pt x="6231" y="34"/>
                  </a:lnTo>
                  <a:lnTo>
                    <a:pt x="623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85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962">
                <a:defRPr/>
              </a:pPr>
              <a:endParaRPr lang="ru-RU" sz="1837" kern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21" name="Группа 4"/>
            <p:cNvGrpSpPr/>
            <p:nvPr userDrawn="1"/>
          </p:nvGrpSpPr>
          <p:grpSpPr bwMode="ltGray">
            <a:xfrm>
              <a:off x="251362" y="-14567"/>
              <a:ext cx="1832431" cy="1472099"/>
              <a:chOff x="251362" y="-14567"/>
              <a:chExt cx="1832431" cy="1472099"/>
            </a:xfrm>
          </p:grpSpPr>
          <p:sp>
            <p:nvSpPr>
              <p:cNvPr id="22" name="Freeform 6"/>
              <p:cNvSpPr>
                <a:spLocks/>
              </p:cNvSpPr>
              <p:nvPr userDrawn="1"/>
            </p:nvSpPr>
            <p:spPr bwMode="ltGray">
              <a:xfrm>
                <a:off x="251362" y="-14565"/>
                <a:ext cx="1832431" cy="1472097"/>
              </a:xfrm>
              <a:custGeom>
                <a:avLst/>
                <a:gdLst>
                  <a:gd name="T0" fmla="*/ 12 w 5023"/>
                  <a:gd name="T1" fmla="*/ 1760 h 4013"/>
                  <a:gd name="T2" fmla="*/ 79 w 5023"/>
                  <a:gd name="T3" fmla="*/ 2130 h 4013"/>
                  <a:gd name="T4" fmla="*/ 197 w 5023"/>
                  <a:gd name="T5" fmla="*/ 2480 h 4013"/>
                  <a:gd name="T6" fmla="*/ 364 w 5023"/>
                  <a:gd name="T7" fmla="*/ 2804 h 4013"/>
                  <a:gd name="T8" fmla="*/ 573 w 5023"/>
                  <a:gd name="T9" fmla="*/ 3100 h 4013"/>
                  <a:gd name="T10" fmla="*/ 823 w 5023"/>
                  <a:gd name="T11" fmla="*/ 3362 h 4013"/>
                  <a:gd name="T12" fmla="*/ 1108 w 5023"/>
                  <a:gd name="T13" fmla="*/ 3584 h 4013"/>
                  <a:gd name="T14" fmla="*/ 1423 w 5023"/>
                  <a:gd name="T15" fmla="*/ 3765 h 4013"/>
                  <a:gd name="T16" fmla="*/ 1764 w 5023"/>
                  <a:gd name="T17" fmla="*/ 3901 h 4013"/>
                  <a:gd name="T18" fmla="*/ 2130 w 5023"/>
                  <a:gd name="T19" fmla="*/ 3984 h 4013"/>
                  <a:gd name="T20" fmla="*/ 2513 w 5023"/>
                  <a:gd name="T21" fmla="*/ 4013 h 4013"/>
                  <a:gd name="T22" fmla="*/ 2895 w 5023"/>
                  <a:gd name="T23" fmla="*/ 3984 h 4013"/>
                  <a:gd name="T24" fmla="*/ 3259 w 5023"/>
                  <a:gd name="T25" fmla="*/ 3901 h 4013"/>
                  <a:gd name="T26" fmla="*/ 3600 w 5023"/>
                  <a:gd name="T27" fmla="*/ 3765 h 4013"/>
                  <a:gd name="T28" fmla="*/ 3916 w 5023"/>
                  <a:gd name="T29" fmla="*/ 3584 h 4013"/>
                  <a:gd name="T30" fmla="*/ 4201 w 5023"/>
                  <a:gd name="T31" fmla="*/ 3362 h 4013"/>
                  <a:gd name="T32" fmla="*/ 4451 w 5023"/>
                  <a:gd name="T33" fmla="*/ 3100 h 4013"/>
                  <a:gd name="T34" fmla="*/ 4661 w 5023"/>
                  <a:gd name="T35" fmla="*/ 2804 h 4013"/>
                  <a:gd name="T36" fmla="*/ 4827 w 5023"/>
                  <a:gd name="T37" fmla="*/ 2480 h 4013"/>
                  <a:gd name="T38" fmla="*/ 4944 w 5023"/>
                  <a:gd name="T39" fmla="*/ 2130 h 4013"/>
                  <a:gd name="T40" fmla="*/ 5011 w 5023"/>
                  <a:gd name="T41" fmla="*/ 1760 h 4013"/>
                  <a:gd name="T42" fmla="*/ 5023 w 5023"/>
                  <a:gd name="T43" fmla="*/ 1451 h 4013"/>
                  <a:gd name="T44" fmla="*/ 5016 w 5023"/>
                  <a:gd name="T45" fmla="*/ 1294 h 4013"/>
                  <a:gd name="T46" fmla="*/ 4998 w 5023"/>
                  <a:gd name="T47" fmla="*/ 1140 h 4013"/>
                  <a:gd name="T48" fmla="*/ 4972 w 5023"/>
                  <a:gd name="T49" fmla="*/ 989 h 4013"/>
                  <a:gd name="T50" fmla="*/ 4935 w 5023"/>
                  <a:gd name="T51" fmla="*/ 842 h 4013"/>
                  <a:gd name="T52" fmla="*/ 4892 w 5023"/>
                  <a:gd name="T53" fmla="*/ 697 h 4013"/>
                  <a:gd name="T54" fmla="*/ 4839 w 5023"/>
                  <a:gd name="T55" fmla="*/ 557 h 4013"/>
                  <a:gd name="T56" fmla="*/ 4780 w 5023"/>
                  <a:gd name="T57" fmla="*/ 420 h 4013"/>
                  <a:gd name="T58" fmla="*/ 4711 w 5023"/>
                  <a:gd name="T59" fmla="*/ 289 h 4013"/>
                  <a:gd name="T60" fmla="*/ 4635 w 5023"/>
                  <a:gd name="T61" fmla="*/ 161 h 4013"/>
                  <a:gd name="T62" fmla="*/ 4553 w 5023"/>
                  <a:gd name="T63" fmla="*/ 39 h 4013"/>
                  <a:gd name="T64" fmla="*/ 471 w 5023"/>
                  <a:gd name="T65" fmla="*/ 39 h 4013"/>
                  <a:gd name="T66" fmla="*/ 389 w 5023"/>
                  <a:gd name="T67" fmla="*/ 161 h 4013"/>
                  <a:gd name="T68" fmla="*/ 312 w 5023"/>
                  <a:gd name="T69" fmla="*/ 289 h 4013"/>
                  <a:gd name="T70" fmla="*/ 245 w 5023"/>
                  <a:gd name="T71" fmla="*/ 420 h 4013"/>
                  <a:gd name="T72" fmla="*/ 184 w 5023"/>
                  <a:gd name="T73" fmla="*/ 557 h 4013"/>
                  <a:gd name="T74" fmla="*/ 133 w 5023"/>
                  <a:gd name="T75" fmla="*/ 697 h 4013"/>
                  <a:gd name="T76" fmla="*/ 88 w 5023"/>
                  <a:gd name="T77" fmla="*/ 842 h 4013"/>
                  <a:gd name="T78" fmla="*/ 52 w 5023"/>
                  <a:gd name="T79" fmla="*/ 989 h 4013"/>
                  <a:gd name="T80" fmla="*/ 26 w 5023"/>
                  <a:gd name="T81" fmla="*/ 1140 h 4013"/>
                  <a:gd name="T82" fmla="*/ 9 w 5023"/>
                  <a:gd name="T83" fmla="*/ 1294 h 4013"/>
                  <a:gd name="T84" fmla="*/ 0 w 5023"/>
                  <a:gd name="T85" fmla="*/ 1451 h 4013"/>
                  <a:gd name="T86" fmla="*/ 0 w 5023"/>
                  <a:gd name="T87" fmla="*/ 1518 h 4013"/>
                  <a:gd name="T88" fmla="*/ 0 w 5023"/>
                  <a:gd name="T89" fmla="*/ 1516 h 4013"/>
                  <a:gd name="T90" fmla="*/ 0 w 5023"/>
                  <a:gd name="T91" fmla="*/ 1507 h 4013"/>
                  <a:gd name="T92" fmla="*/ 0 w 5023"/>
                  <a:gd name="T93" fmla="*/ 1501 h 40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023" h="4013">
                    <a:moveTo>
                      <a:pt x="0" y="1502"/>
                    </a:moveTo>
                    <a:lnTo>
                      <a:pt x="3" y="1632"/>
                    </a:lnTo>
                    <a:lnTo>
                      <a:pt x="12" y="1760"/>
                    </a:lnTo>
                    <a:lnTo>
                      <a:pt x="29" y="1885"/>
                    </a:lnTo>
                    <a:lnTo>
                      <a:pt x="50" y="2010"/>
                    </a:lnTo>
                    <a:lnTo>
                      <a:pt x="79" y="2130"/>
                    </a:lnTo>
                    <a:lnTo>
                      <a:pt x="113" y="2250"/>
                    </a:lnTo>
                    <a:lnTo>
                      <a:pt x="152" y="2366"/>
                    </a:lnTo>
                    <a:lnTo>
                      <a:pt x="197" y="2480"/>
                    </a:lnTo>
                    <a:lnTo>
                      <a:pt x="248" y="2591"/>
                    </a:lnTo>
                    <a:lnTo>
                      <a:pt x="303" y="2699"/>
                    </a:lnTo>
                    <a:lnTo>
                      <a:pt x="364" y="2804"/>
                    </a:lnTo>
                    <a:lnTo>
                      <a:pt x="430" y="2906"/>
                    </a:lnTo>
                    <a:lnTo>
                      <a:pt x="498" y="3005"/>
                    </a:lnTo>
                    <a:lnTo>
                      <a:pt x="573" y="3100"/>
                    </a:lnTo>
                    <a:lnTo>
                      <a:pt x="652" y="3191"/>
                    </a:lnTo>
                    <a:lnTo>
                      <a:pt x="736" y="3278"/>
                    </a:lnTo>
                    <a:lnTo>
                      <a:pt x="823" y="3362"/>
                    </a:lnTo>
                    <a:lnTo>
                      <a:pt x="914" y="3441"/>
                    </a:lnTo>
                    <a:lnTo>
                      <a:pt x="1009" y="3514"/>
                    </a:lnTo>
                    <a:lnTo>
                      <a:pt x="1108" y="3584"/>
                    </a:lnTo>
                    <a:lnTo>
                      <a:pt x="1210" y="3649"/>
                    </a:lnTo>
                    <a:lnTo>
                      <a:pt x="1315" y="3710"/>
                    </a:lnTo>
                    <a:lnTo>
                      <a:pt x="1423" y="3765"/>
                    </a:lnTo>
                    <a:lnTo>
                      <a:pt x="1534" y="3815"/>
                    </a:lnTo>
                    <a:lnTo>
                      <a:pt x="1649" y="3861"/>
                    </a:lnTo>
                    <a:lnTo>
                      <a:pt x="1764" y="3901"/>
                    </a:lnTo>
                    <a:lnTo>
                      <a:pt x="1885" y="3934"/>
                    </a:lnTo>
                    <a:lnTo>
                      <a:pt x="2005" y="3963"/>
                    </a:lnTo>
                    <a:lnTo>
                      <a:pt x="2130" y="3984"/>
                    </a:lnTo>
                    <a:lnTo>
                      <a:pt x="2255" y="4001"/>
                    </a:lnTo>
                    <a:lnTo>
                      <a:pt x="2383" y="4010"/>
                    </a:lnTo>
                    <a:lnTo>
                      <a:pt x="2513" y="4013"/>
                    </a:lnTo>
                    <a:lnTo>
                      <a:pt x="2642" y="4010"/>
                    </a:lnTo>
                    <a:lnTo>
                      <a:pt x="2768" y="4001"/>
                    </a:lnTo>
                    <a:lnTo>
                      <a:pt x="2895" y="3984"/>
                    </a:lnTo>
                    <a:lnTo>
                      <a:pt x="3018" y="3963"/>
                    </a:lnTo>
                    <a:lnTo>
                      <a:pt x="3140" y="3934"/>
                    </a:lnTo>
                    <a:lnTo>
                      <a:pt x="3259" y="3901"/>
                    </a:lnTo>
                    <a:lnTo>
                      <a:pt x="3376" y="3861"/>
                    </a:lnTo>
                    <a:lnTo>
                      <a:pt x="3489" y="3815"/>
                    </a:lnTo>
                    <a:lnTo>
                      <a:pt x="3600" y="3765"/>
                    </a:lnTo>
                    <a:lnTo>
                      <a:pt x="3710" y="3710"/>
                    </a:lnTo>
                    <a:lnTo>
                      <a:pt x="3815" y="3649"/>
                    </a:lnTo>
                    <a:lnTo>
                      <a:pt x="3916" y="3584"/>
                    </a:lnTo>
                    <a:lnTo>
                      <a:pt x="4015" y="3514"/>
                    </a:lnTo>
                    <a:lnTo>
                      <a:pt x="4109" y="3441"/>
                    </a:lnTo>
                    <a:lnTo>
                      <a:pt x="4201" y="3362"/>
                    </a:lnTo>
                    <a:lnTo>
                      <a:pt x="4288" y="3278"/>
                    </a:lnTo>
                    <a:lnTo>
                      <a:pt x="4371" y="3191"/>
                    </a:lnTo>
                    <a:lnTo>
                      <a:pt x="4451" y="3100"/>
                    </a:lnTo>
                    <a:lnTo>
                      <a:pt x="4525" y="3005"/>
                    </a:lnTo>
                    <a:lnTo>
                      <a:pt x="4595" y="2906"/>
                    </a:lnTo>
                    <a:lnTo>
                      <a:pt x="4661" y="2804"/>
                    </a:lnTo>
                    <a:lnTo>
                      <a:pt x="4720" y="2699"/>
                    </a:lnTo>
                    <a:lnTo>
                      <a:pt x="4777" y="2591"/>
                    </a:lnTo>
                    <a:lnTo>
                      <a:pt x="4827" y="2480"/>
                    </a:lnTo>
                    <a:lnTo>
                      <a:pt x="4871" y="2366"/>
                    </a:lnTo>
                    <a:lnTo>
                      <a:pt x="4911" y="2250"/>
                    </a:lnTo>
                    <a:lnTo>
                      <a:pt x="4944" y="2130"/>
                    </a:lnTo>
                    <a:lnTo>
                      <a:pt x="4973" y="2010"/>
                    </a:lnTo>
                    <a:lnTo>
                      <a:pt x="4995" y="1885"/>
                    </a:lnTo>
                    <a:lnTo>
                      <a:pt x="5011" y="1760"/>
                    </a:lnTo>
                    <a:lnTo>
                      <a:pt x="5020" y="1632"/>
                    </a:lnTo>
                    <a:lnTo>
                      <a:pt x="5023" y="1502"/>
                    </a:lnTo>
                    <a:lnTo>
                      <a:pt x="5023" y="1451"/>
                    </a:lnTo>
                    <a:lnTo>
                      <a:pt x="5022" y="1397"/>
                    </a:lnTo>
                    <a:lnTo>
                      <a:pt x="5019" y="1346"/>
                    </a:lnTo>
                    <a:lnTo>
                      <a:pt x="5016" y="1294"/>
                    </a:lnTo>
                    <a:lnTo>
                      <a:pt x="5011" y="1242"/>
                    </a:lnTo>
                    <a:lnTo>
                      <a:pt x="5005" y="1190"/>
                    </a:lnTo>
                    <a:lnTo>
                      <a:pt x="4998" y="1140"/>
                    </a:lnTo>
                    <a:lnTo>
                      <a:pt x="4990" y="1090"/>
                    </a:lnTo>
                    <a:lnTo>
                      <a:pt x="4981" y="1038"/>
                    </a:lnTo>
                    <a:lnTo>
                      <a:pt x="4972" y="989"/>
                    </a:lnTo>
                    <a:lnTo>
                      <a:pt x="4961" y="939"/>
                    </a:lnTo>
                    <a:lnTo>
                      <a:pt x="4949" y="890"/>
                    </a:lnTo>
                    <a:lnTo>
                      <a:pt x="4935" y="842"/>
                    </a:lnTo>
                    <a:lnTo>
                      <a:pt x="4921" y="793"/>
                    </a:lnTo>
                    <a:lnTo>
                      <a:pt x="4908" y="744"/>
                    </a:lnTo>
                    <a:lnTo>
                      <a:pt x="4892" y="697"/>
                    </a:lnTo>
                    <a:lnTo>
                      <a:pt x="4876" y="650"/>
                    </a:lnTo>
                    <a:lnTo>
                      <a:pt x="4857" y="603"/>
                    </a:lnTo>
                    <a:lnTo>
                      <a:pt x="4839" y="557"/>
                    </a:lnTo>
                    <a:lnTo>
                      <a:pt x="4821" y="511"/>
                    </a:lnTo>
                    <a:lnTo>
                      <a:pt x="4800" y="466"/>
                    </a:lnTo>
                    <a:lnTo>
                      <a:pt x="4780" y="420"/>
                    </a:lnTo>
                    <a:lnTo>
                      <a:pt x="4757" y="376"/>
                    </a:lnTo>
                    <a:lnTo>
                      <a:pt x="4734" y="332"/>
                    </a:lnTo>
                    <a:lnTo>
                      <a:pt x="4711" y="289"/>
                    </a:lnTo>
                    <a:lnTo>
                      <a:pt x="4687" y="246"/>
                    </a:lnTo>
                    <a:lnTo>
                      <a:pt x="4662" y="204"/>
                    </a:lnTo>
                    <a:lnTo>
                      <a:pt x="4635" y="161"/>
                    </a:lnTo>
                    <a:lnTo>
                      <a:pt x="4609" y="120"/>
                    </a:lnTo>
                    <a:lnTo>
                      <a:pt x="4582" y="79"/>
                    </a:lnTo>
                    <a:lnTo>
                      <a:pt x="4553" y="39"/>
                    </a:lnTo>
                    <a:lnTo>
                      <a:pt x="4524" y="0"/>
                    </a:lnTo>
                    <a:lnTo>
                      <a:pt x="500" y="0"/>
                    </a:lnTo>
                    <a:lnTo>
                      <a:pt x="471" y="39"/>
                    </a:lnTo>
                    <a:lnTo>
                      <a:pt x="442" y="79"/>
                    </a:lnTo>
                    <a:lnTo>
                      <a:pt x="414" y="120"/>
                    </a:lnTo>
                    <a:lnTo>
                      <a:pt x="389" y="161"/>
                    </a:lnTo>
                    <a:lnTo>
                      <a:pt x="363" y="204"/>
                    </a:lnTo>
                    <a:lnTo>
                      <a:pt x="337" y="246"/>
                    </a:lnTo>
                    <a:lnTo>
                      <a:pt x="312" y="289"/>
                    </a:lnTo>
                    <a:lnTo>
                      <a:pt x="290" y="332"/>
                    </a:lnTo>
                    <a:lnTo>
                      <a:pt x="267" y="376"/>
                    </a:lnTo>
                    <a:lnTo>
                      <a:pt x="245" y="420"/>
                    </a:lnTo>
                    <a:lnTo>
                      <a:pt x="224" y="466"/>
                    </a:lnTo>
                    <a:lnTo>
                      <a:pt x="204" y="511"/>
                    </a:lnTo>
                    <a:lnTo>
                      <a:pt x="184" y="557"/>
                    </a:lnTo>
                    <a:lnTo>
                      <a:pt x="166" y="603"/>
                    </a:lnTo>
                    <a:lnTo>
                      <a:pt x="149" y="650"/>
                    </a:lnTo>
                    <a:lnTo>
                      <a:pt x="133" y="697"/>
                    </a:lnTo>
                    <a:lnTo>
                      <a:pt x="116" y="744"/>
                    </a:lnTo>
                    <a:lnTo>
                      <a:pt x="102" y="793"/>
                    </a:lnTo>
                    <a:lnTo>
                      <a:pt x="88" y="842"/>
                    </a:lnTo>
                    <a:lnTo>
                      <a:pt x="75" y="890"/>
                    </a:lnTo>
                    <a:lnTo>
                      <a:pt x="64" y="939"/>
                    </a:lnTo>
                    <a:lnTo>
                      <a:pt x="52" y="989"/>
                    </a:lnTo>
                    <a:lnTo>
                      <a:pt x="43" y="1038"/>
                    </a:lnTo>
                    <a:lnTo>
                      <a:pt x="34" y="1090"/>
                    </a:lnTo>
                    <a:lnTo>
                      <a:pt x="26" y="1140"/>
                    </a:lnTo>
                    <a:lnTo>
                      <a:pt x="20" y="1190"/>
                    </a:lnTo>
                    <a:lnTo>
                      <a:pt x="14" y="1242"/>
                    </a:lnTo>
                    <a:lnTo>
                      <a:pt x="9" y="1294"/>
                    </a:lnTo>
                    <a:lnTo>
                      <a:pt x="5" y="1346"/>
                    </a:lnTo>
                    <a:lnTo>
                      <a:pt x="2" y="1397"/>
                    </a:lnTo>
                    <a:lnTo>
                      <a:pt x="0" y="1451"/>
                    </a:lnTo>
                    <a:lnTo>
                      <a:pt x="0" y="1502"/>
                    </a:lnTo>
                    <a:lnTo>
                      <a:pt x="0" y="1515"/>
                    </a:lnTo>
                    <a:lnTo>
                      <a:pt x="0" y="1518"/>
                    </a:lnTo>
                    <a:lnTo>
                      <a:pt x="0" y="1519"/>
                    </a:lnTo>
                    <a:lnTo>
                      <a:pt x="0" y="1518"/>
                    </a:lnTo>
                    <a:lnTo>
                      <a:pt x="0" y="1516"/>
                    </a:lnTo>
                    <a:lnTo>
                      <a:pt x="0" y="1515"/>
                    </a:lnTo>
                    <a:lnTo>
                      <a:pt x="0" y="1512"/>
                    </a:lnTo>
                    <a:lnTo>
                      <a:pt x="0" y="1507"/>
                    </a:lnTo>
                    <a:lnTo>
                      <a:pt x="0" y="1504"/>
                    </a:lnTo>
                    <a:lnTo>
                      <a:pt x="0" y="1502"/>
                    </a:lnTo>
                    <a:lnTo>
                      <a:pt x="0" y="1501"/>
                    </a:lnTo>
                    <a:lnTo>
                      <a:pt x="0" y="1499"/>
                    </a:lnTo>
                    <a:lnTo>
                      <a:pt x="0" y="1502"/>
                    </a:lnTo>
                    <a:close/>
                  </a:path>
                </a:pathLst>
              </a:custGeom>
              <a:solidFill>
                <a:srgbClr val="57068C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2962">
                  <a:defRPr/>
                </a:pPr>
                <a:endParaRPr lang="ru-RU" sz="1837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3" name="Freeform 7"/>
              <p:cNvSpPr>
                <a:spLocks noEditPoints="1"/>
              </p:cNvSpPr>
              <p:nvPr userDrawn="1"/>
            </p:nvSpPr>
            <p:spPr bwMode="ltGray">
              <a:xfrm>
                <a:off x="1098297" y="-14566"/>
                <a:ext cx="704220" cy="1198509"/>
              </a:xfrm>
              <a:custGeom>
                <a:avLst/>
                <a:gdLst>
                  <a:gd name="T0" fmla="*/ 381 w 1929"/>
                  <a:gd name="T1" fmla="*/ 1573 h 3269"/>
                  <a:gd name="T2" fmla="*/ 381 w 1929"/>
                  <a:gd name="T3" fmla="*/ 1573 h 3269"/>
                  <a:gd name="T4" fmla="*/ 381 w 1929"/>
                  <a:gd name="T5" fmla="*/ 1573 h 3269"/>
                  <a:gd name="T6" fmla="*/ 375 w 1929"/>
                  <a:gd name="T7" fmla="*/ 1608 h 3269"/>
                  <a:gd name="T8" fmla="*/ 348 w 1929"/>
                  <a:gd name="T9" fmla="*/ 1664 h 3269"/>
                  <a:gd name="T10" fmla="*/ 299 w 1929"/>
                  <a:gd name="T11" fmla="*/ 1700 h 3269"/>
                  <a:gd name="T12" fmla="*/ 237 w 1929"/>
                  <a:gd name="T13" fmla="*/ 1716 h 3269"/>
                  <a:gd name="T14" fmla="*/ 13 w 1929"/>
                  <a:gd name="T15" fmla="*/ 1717 h 3269"/>
                  <a:gd name="T16" fmla="*/ 5 w 1929"/>
                  <a:gd name="T17" fmla="*/ 1722 h 3269"/>
                  <a:gd name="T18" fmla="*/ 0 w 1929"/>
                  <a:gd name="T19" fmla="*/ 1729 h 3269"/>
                  <a:gd name="T20" fmla="*/ 31 w 1929"/>
                  <a:gd name="T21" fmla="*/ 3264 h 3269"/>
                  <a:gd name="T22" fmla="*/ 605 w 1929"/>
                  <a:gd name="T23" fmla="*/ 3212 h 3269"/>
                  <a:gd name="T24" fmla="*/ 1286 w 1929"/>
                  <a:gd name="T25" fmla="*/ 2865 h 3269"/>
                  <a:gd name="T26" fmla="*/ 1756 w 1929"/>
                  <a:gd name="T27" fmla="*/ 2268 h 3269"/>
                  <a:gd name="T28" fmla="*/ 1929 w 1929"/>
                  <a:gd name="T29" fmla="*/ 1502 h 3269"/>
                  <a:gd name="T30" fmla="*/ 1855 w 1929"/>
                  <a:gd name="T31" fmla="*/ 989 h 3269"/>
                  <a:gd name="T32" fmla="*/ 1641 w 1929"/>
                  <a:gd name="T33" fmla="*/ 536 h 3269"/>
                  <a:gd name="T34" fmla="*/ 1314 w 1929"/>
                  <a:gd name="T35" fmla="*/ 163 h 3269"/>
                  <a:gd name="T36" fmla="*/ 1381 w 1929"/>
                  <a:gd name="T37" fmla="*/ 2025 h 3269"/>
                  <a:gd name="T38" fmla="*/ 1477 w 1929"/>
                  <a:gd name="T39" fmla="*/ 2046 h 3269"/>
                  <a:gd name="T40" fmla="*/ 1551 w 1929"/>
                  <a:gd name="T41" fmla="*/ 2105 h 3269"/>
                  <a:gd name="T42" fmla="*/ 1594 w 1929"/>
                  <a:gd name="T43" fmla="*/ 2191 h 3269"/>
                  <a:gd name="T44" fmla="*/ 1597 w 1929"/>
                  <a:gd name="T45" fmla="*/ 2290 h 3269"/>
                  <a:gd name="T46" fmla="*/ 1558 w 1929"/>
                  <a:gd name="T47" fmla="*/ 2378 h 3269"/>
                  <a:gd name="T48" fmla="*/ 1486 w 1929"/>
                  <a:gd name="T49" fmla="*/ 2439 h 3269"/>
                  <a:gd name="T50" fmla="*/ 1391 w 1929"/>
                  <a:gd name="T51" fmla="*/ 2465 h 3269"/>
                  <a:gd name="T52" fmla="*/ 1294 w 1929"/>
                  <a:gd name="T53" fmla="*/ 2448 h 3269"/>
                  <a:gd name="T54" fmla="*/ 1218 w 1929"/>
                  <a:gd name="T55" fmla="*/ 2393 h 3269"/>
                  <a:gd name="T56" fmla="*/ 1171 w 1929"/>
                  <a:gd name="T57" fmla="*/ 2311 h 3269"/>
                  <a:gd name="T58" fmla="*/ 1163 w 1929"/>
                  <a:gd name="T59" fmla="*/ 2212 h 3269"/>
                  <a:gd name="T60" fmla="*/ 1198 w 1929"/>
                  <a:gd name="T61" fmla="*/ 2122 h 3269"/>
                  <a:gd name="T62" fmla="*/ 1267 w 1929"/>
                  <a:gd name="T63" fmla="*/ 2057 h 3269"/>
                  <a:gd name="T64" fmla="*/ 1358 w 1929"/>
                  <a:gd name="T65" fmla="*/ 2026 h 3269"/>
                  <a:gd name="T66" fmla="*/ 928 w 1929"/>
                  <a:gd name="T67" fmla="*/ 2034 h 3269"/>
                  <a:gd name="T68" fmla="*/ 1012 w 1929"/>
                  <a:gd name="T69" fmla="*/ 2083 h 3269"/>
                  <a:gd name="T70" fmla="*/ 1067 w 1929"/>
                  <a:gd name="T71" fmla="*/ 2159 h 3269"/>
                  <a:gd name="T72" fmla="*/ 1084 w 1929"/>
                  <a:gd name="T73" fmla="*/ 2256 h 3269"/>
                  <a:gd name="T74" fmla="*/ 1058 w 1929"/>
                  <a:gd name="T75" fmla="*/ 2351 h 3269"/>
                  <a:gd name="T76" fmla="*/ 995 w 1929"/>
                  <a:gd name="T77" fmla="*/ 2422 h 3269"/>
                  <a:gd name="T78" fmla="*/ 907 w 1929"/>
                  <a:gd name="T79" fmla="*/ 2462 h 3269"/>
                  <a:gd name="T80" fmla="*/ 808 w 1929"/>
                  <a:gd name="T81" fmla="*/ 2459 h 3269"/>
                  <a:gd name="T82" fmla="*/ 723 w 1929"/>
                  <a:gd name="T83" fmla="*/ 2416 h 3269"/>
                  <a:gd name="T84" fmla="*/ 665 w 1929"/>
                  <a:gd name="T85" fmla="*/ 2341 h 3269"/>
                  <a:gd name="T86" fmla="*/ 642 w 1929"/>
                  <a:gd name="T87" fmla="*/ 2246 h 3269"/>
                  <a:gd name="T88" fmla="*/ 665 w 1929"/>
                  <a:gd name="T89" fmla="*/ 2150 h 3269"/>
                  <a:gd name="T90" fmla="*/ 723 w 1929"/>
                  <a:gd name="T91" fmla="*/ 2075 h 3269"/>
                  <a:gd name="T92" fmla="*/ 808 w 1929"/>
                  <a:gd name="T93" fmla="*/ 2032 h 3269"/>
                  <a:gd name="T94" fmla="*/ 311 w 1929"/>
                  <a:gd name="T95" fmla="*/ 2463 h 3269"/>
                  <a:gd name="T96" fmla="*/ 221 w 1929"/>
                  <a:gd name="T97" fmla="*/ 2428 h 3269"/>
                  <a:gd name="T98" fmla="*/ 156 w 1929"/>
                  <a:gd name="T99" fmla="*/ 2360 h 3269"/>
                  <a:gd name="T100" fmla="*/ 125 w 1929"/>
                  <a:gd name="T101" fmla="*/ 2268 h 3269"/>
                  <a:gd name="T102" fmla="*/ 138 w 1929"/>
                  <a:gd name="T103" fmla="*/ 2169 h 3269"/>
                  <a:gd name="T104" fmla="*/ 189 w 1929"/>
                  <a:gd name="T105" fmla="*/ 2089 h 3269"/>
                  <a:gd name="T106" fmla="*/ 269 w 1929"/>
                  <a:gd name="T107" fmla="*/ 2038 h 3269"/>
                  <a:gd name="T108" fmla="*/ 368 w 1929"/>
                  <a:gd name="T109" fmla="*/ 2026 h 3269"/>
                  <a:gd name="T110" fmla="*/ 461 w 1929"/>
                  <a:gd name="T111" fmla="*/ 2057 h 3269"/>
                  <a:gd name="T112" fmla="*/ 529 w 1929"/>
                  <a:gd name="T113" fmla="*/ 2122 h 3269"/>
                  <a:gd name="T114" fmla="*/ 564 w 1929"/>
                  <a:gd name="T115" fmla="*/ 2212 h 3269"/>
                  <a:gd name="T116" fmla="*/ 557 w 1929"/>
                  <a:gd name="T117" fmla="*/ 2311 h 3269"/>
                  <a:gd name="T118" fmla="*/ 509 w 1929"/>
                  <a:gd name="T119" fmla="*/ 2393 h 3269"/>
                  <a:gd name="T120" fmla="*/ 432 w 1929"/>
                  <a:gd name="T121" fmla="*/ 2448 h 3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929" h="3269">
                    <a:moveTo>
                      <a:pt x="381" y="1573"/>
                    </a:move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0" y="1580"/>
                    </a:lnTo>
                    <a:lnTo>
                      <a:pt x="380" y="1586"/>
                    </a:lnTo>
                    <a:lnTo>
                      <a:pt x="378" y="1594"/>
                    </a:lnTo>
                    <a:lnTo>
                      <a:pt x="378" y="1601"/>
                    </a:lnTo>
                    <a:lnTo>
                      <a:pt x="375" y="1608"/>
                    </a:lnTo>
                    <a:lnTo>
                      <a:pt x="374" y="1615"/>
                    </a:lnTo>
                    <a:lnTo>
                      <a:pt x="372" y="1621"/>
                    </a:lnTo>
                    <a:lnTo>
                      <a:pt x="369" y="1627"/>
                    </a:lnTo>
                    <a:lnTo>
                      <a:pt x="366" y="1635"/>
                    </a:lnTo>
                    <a:lnTo>
                      <a:pt x="363" y="1641"/>
                    </a:lnTo>
                    <a:lnTo>
                      <a:pt x="360" y="1647"/>
                    </a:lnTo>
                    <a:lnTo>
                      <a:pt x="355" y="1652"/>
                    </a:lnTo>
                    <a:lnTo>
                      <a:pt x="351" y="1658"/>
                    </a:lnTo>
                    <a:lnTo>
                      <a:pt x="348" y="1664"/>
                    </a:lnTo>
                    <a:lnTo>
                      <a:pt x="343" y="1668"/>
                    </a:lnTo>
                    <a:lnTo>
                      <a:pt x="339" y="1673"/>
                    </a:lnTo>
                    <a:lnTo>
                      <a:pt x="333" y="1678"/>
                    </a:lnTo>
                    <a:lnTo>
                      <a:pt x="328" y="1682"/>
                    </a:lnTo>
                    <a:lnTo>
                      <a:pt x="322" y="1687"/>
                    </a:lnTo>
                    <a:lnTo>
                      <a:pt x="317" y="1691"/>
                    </a:lnTo>
                    <a:lnTo>
                      <a:pt x="311" y="1694"/>
                    </a:lnTo>
                    <a:lnTo>
                      <a:pt x="305" y="1697"/>
                    </a:lnTo>
                    <a:lnTo>
                      <a:pt x="299" y="1700"/>
                    </a:lnTo>
                    <a:lnTo>
                      <a:pt x="293" y="1703"/>
                    </a:lnTo>
                    <a:lnTo>
                      <a:pt x="285" y="1707"/>
                    </a:lnTo>
                    <a:lnTo>
                      <a:pt x="279" y="1708"/>
                    </a:lnTo>
                    <a:lnTo>
                      <a:pt x="273" y="1711"/>
                    </a:lnTo>
                    <a:lnTo>
                      <a:pt x="266" y="1713"/>
                    </a:lnTo>
                    <a:lnTo>
                      <a:pt x="258" y="1713"/>
                    </a:lnTo>
                    <a:lnTo>
                      <a:pt x="252" y="1714"/>
                    </a:lnTo>
                    <a:lnTo>
                      <a:pt x="244" y="1714"/>
                    </a:lnTo>
                    <a:lnTo>
                      <a:pt x="237" y="1716"/>
                    </a:lnTo>
                    <a:lnTo>
                      <a:pt x="20" y="1716"/>
                    </a:lnTo>
                    <a:lnTo>
                      <a:pt x="19" y="1716"/>
                    </a:lnTo>
                    <a:lnTo>
                      <a:pt x="17" y="1716"/>
                    </a:lnTo>
                    <a:lnTo>
                      <a:pt x="17" y="1716"/>
                    </a:lnTo>
                    <a:lnTo>
                      <a:pt x="16" y="1716"/>
                    </a:lnTo>
                    <a:lnTo>
                      <a:pt x="14" y="1716"/>
                    </a:lnTo>
                    <a:lnTo>
                      <a:pt x="14" y="1716"/>
                    </a:lnTo>
                    <a:lnTo>
                      <a:pt x="13" y="1716"/>
                    </a:lnTo>
                    <a:lnTo>
                      <a:pt x="13" y="1717"/>
                    </a:lnTo>
                    <a:lnTo>
                      <a:pt x="11" y="1717"/>
                    </a:lnTo>
                    <a:lnTo>
                      <a:pt x="10" y="1717"/>
                    </a:lnTo>
                    <a:lnTo>
                      <a:pt x="10" y="1717"/>
                    </a:lnTo>
                    <a:lnTo>
                      <a:pt x="8" y="1719"/>
                    </a:lnTo>
                    <a:lnTo>
                      <a:pt x="8" y="1719"/>
                    </a:lnTo>
                    <a:lnTo>
                      <a:pt x="6" y="1719"/>
                    </a:lnTo>
                    <a:lnTo>
                      <a:pt x="6" y="1720"/>
                    </a:lnTo>
                    <a:lnTo>
                      <a:pt x="5" y="1720"/>
                    </a:lnTo>
                    <a:lnTo>
                      <a:pt x="5" y="1722"/>
                    </a:lnTo>
                    <a:lnTo>
                      <a:pt x="5" y="1722"/>
                    </a:lnTo>
                    <a:lnTo>
                      <a:pt x="3" y="1723"/>
                    </a:lnTo>
                    <a:lnTo>
                      <a:pt x="3" y="1723"/>
                    </a:lnTo>
                    <a:lnTo>
                      <a:pt x="3" y="1725"/>
                    </a:lnTo>
                    <a:lnTo>
                      <a:pt x="2" y="1725"/>
                    </a:lnTo>
                    <a:lnTo>
                      <a:pt x="2" y="1726"/>
                    </a:lnTo>
                    <a:lnTo>
                      <a:pt x="2" y="1726"/>
                    </a:lnTo>
                    <a:lnTo>
                      <a:pt x="0" y="1728"/>
                    </a:lnTo>
                    <a:lnTo>
                      <a:pt x="0" y="1729"/>
                    </a:lnTo>
                    <a:lnTo>
                      <a:pt x="0" y="1729"/>
                    </a:lnTo>
                    <a:lnTo>
                      <a:pt x="0" y="1731"/>
                    </a:lnTo>
                    <a:lnTo>
                      <a:pt x="0" y="1731"/>
                    </a:lnTo>
                    <a:lnTo>
                      <a:pt x="0" y="1732"/>
                    </a:lnTo>
                    <a:lnTo>
                      <a:pt x="0" y="1734"/>
                    </a:lnTo>
                    <a:lnTo>
                      <a:pt x="0" y="1734"/>
                    </a:lnTo>
                    <a:lnTo>
                      <a:pt x="0" y="3261"/>
                    </a:lnTo>
                    <a:lnTo>
                      <a:pt x="5" y="3261"/>
                    </a:lnTo>
                    <a:lnTo>
                      <a:pt x="31" y="3264"/>
                    </a:lnTo>
                    <a:lnTo>
                      <a:pt x="80" y="3267"/>
                    </a:lnTo>
                    <a:lnTo>
                      <a:pt x="122" y="3269"/>
                    </a:lnTo>
                    <a:lnTo>
                      <a:pt x="157" y="3269"/>
                    </a:lnTo>
                    <a:lnTo>
                      <a:pt x="163" y="3269"/>
                    </a:lnTo>
                    <a:lnTo>
                      <a:pt x="255" y="3266"/>
                    </a:lnTo>
                    <a:lnTo>
                      <a:pt x="343" y="3260"/>
                    </a:lnTo>
                    <a:lnTo>
                      <a:pt x="432" y="3249"/>
                    </a:lnTo>
                    <a:lnTo>
                      <a:pt x="520" y="3232"/>
                    </a:lnTo>
                    <a:lnTo>
                      <a:pt x="605" y="3212"/>
                    </a:lnTo>
                    <a:lnTo>
                      <a:pt x="689" y="3190"/>
                    </a:lnTo>
                    <a:lnTo>
                      <a:pt x="771" y="3162"/>
                    </a:lnTo>
                    <a:lnTo>
                      <a:pt x="851" y="3130"/>
                    </a:lnTo>
                    <a:lnTo>
                      <a:pt x="930" y="3095"/>
                    </a:lnTo>
                    <a:lnTo>
                      <a:pt x="1006" y="3056"/>
                    </a:lnTo>
                    <a:lnTo>
                      <a:pt x="1079" y="3013"/>
                    </a:lnTo>
                    <a:lnTo>
                      <a:pt x="1151" y="2967"/>
                    </a:lnTo>
                    <a:lnTo>
                      <a:pt x="1221" y="2917"/>
                    </a:lnTo>
                    <a:lnTo>
                      <a:pt x="1286" y="2865"/>
                    </a:lnTo>
                    <a:lnTo>
                      <a:pt x="1352" y="2810"/>
                    </a:lnTo>
                    <a:lnTo>
                      <a:pt x="1413" y="2751"/>
                    </a:lnTo>
                    <a:lnTo>
                      <a:pt x="1471" y="2690"/>
                    </a:lnTo>
                    <a:lnTo>
                      <a:pt x="1527" y="2626"/>
                    </a:lnTo>
                    <a:lnTo>
                      <a:pt x="1579" y="2559"/>
                    </a:lnTo>
                    <a:lnTo>
                      <a:pt x="1628" y="2491"/>
                    </a:lnTo>
                    <a:lnTo>
                      <a:pt x="1675" y="2418"/>
                    </a:lnTo>
                    <a:lnTo>
                      <a:pt x="1716" y="2345"/>
                    </a:lnTo>
                    <a:lnTo>
                      <a:pt x="1756" y="2268"/>
                    </a:lnTo>
                    <a:lnTo>
                      <a:pt x="1791" y="2191"/>
                    </a:lnTo>
                    <a:lnTo>
                      <a:pt x="1823" y="2110"/>
                    </a:lnTo>
                    <a:lnTo>
                      <a:pt x="1850" y="2028"/>
                    </a:lnTo>
                    <a:lnTo>
                      <a:pt x="1874" y="1944"/>
                    </a:lnTo>
                    <a:lnTo>
                      <a:pt x="1894" y="1859"/>
                    </a:lnTo>
                    <a:lnTo>
                      <a:pt x="1910" y="1772"/>
                    </a:lnTo>
                    <a:lnTo>
                      <a:pt x="1920" y="1684"/>
                    </a:lnTo>
                    <a:lnTo>
                      <a:pt x="1928" y="1594"/>
                    </a:lnTo>
                    <a:lnTo>
                      <a:pt x="1929" y="1502"/>
                    </a:lnTo>
                    <a:lnTo>
                      <a:pt x="1929" y="1443"/>
                    </a:lnTo>
                    <a:lnTo>
                      <a:pt x="1926" y="1385"/>
                    </a:lnTo>
                    <a:lnTo>
                      <a:pt x="1922" y="1326"/>
                    </a:lnTo>
                    <a:lnTo>
                      <a:pt x="1914" y="1268"/>
                    </a:lnTo>
                    <a:lnTo>
                      <a:pt x="1906" y="1212"/>
                    </a:lnTo>
                    <a:lnTo>
                      <a:pt x="1896" y="1155"/>
                    </a:lnTo>
                    <a:lnTo>
                      <a:pt x="1884" y="1099"/>
                    </a:lnTo>
                    <a:lnTo>
                      <a:pt x="1870" y="1044"/>
                    </a:lnTo>
                    <a:lnTo>
                      <a:pt x="1855" y="989"/>
                    </a:lnTo>
                    <a:lnTo>
                      <a:pt x="1836" y="936"/>
                    </a:lnTo>
                    <a:lnTo>
                      <a:pt x="1818" y="883"/>
                    </a:lnTo>
                    <a:lnTo>
                      <a:pt x="1797" y="829"/>
                    </a:lnTo>
                    <a:lnTo>
                      <a:pt x="1775" y="779"/>
                    </a:lnTo>
                    <a:lnTo>
                      <a:pt x="1751" y="727"/>
                    </a:lnTo>
                    <a:lnTo>
                      <a:pt x="1725" y="679"/>
                    </a:lnTo>
                    <a:lnTo>
                      <a:pt x="1699" y="630"/>
                    </a:lnTo>
                    <a:lnTo>
                      <a:pt x="1670" y="581"/>
                    </a:lnTo>
                    <a:lnTo>
                      <a:pt x="1641" y="536"/>
                    </a:lnTo>
                    <a:lnTo>
                      <a:pt x="1609" y="490"/>
                    </a:lnTo>
                    <a:lnTo>
                      <a:pt x="1577" y="444"/>
                    </a:lnTo>
                    <a:lnTo>
                      <a:pt x="1544" y="400"/>
                    </a:lnTo>
                    <a:lnTo>
                      <a:pt x="1509" y="357"/>
                    </a:lnTo>
                    <a:lnTo>
                      <a:pt x="1472" y="316"/>
                    </a:lnTo>
                    <a:lnTo>
                      <a:pt x="1434" y="277"/>
                    </a:lnTo>
                    <a:lnTo>
                      <a:pt x="1395" y="237"/>
                    </a:lnTo>
                    <a:lnTo>
                      <a:pt x="1355" y="199"/>
                    </a:lnTo>
                    <a:lnTo>
                      <a:pt x="1314" y="163"/>
                    </a:lnTo>
                    <a:lnTo>
                      <a:pt x="1271" y="128"/>
                    </a:lnTo>
                    <a:lnTo>
                      <a:pt x="1227" y="94"/>
                    </a:lnTo>
                    <a:lnTo>
                      <a:pt x="1183" y="61"/>
                    </a:lnTo>
                    <a:lnTo>
                      <a:pt x="1137" y="30"/>
                    </a:lnTo>
                    <a:lnTo>
                      <a:pt x="1090" y="0"/>
                    </a:lnTo>
                    <a:lnTo>
                      <a:pt x="381" y="0"/>
                    </a:lnTo>
                    <a:lnTo>
                      <a:pt x="381" y="1522"/>
                    </a:lnTo>
                    <a:lnTo>
                      <a:pt x="381" y="1573"/>
                    </a:lnTo>
                    <a:close/>
                    <a:moveTo>
                      <a:pt x="1381" y="2025"/>
                    </a:moveTo>
                    <a:lnTo>
                      <a:pt x="1391" y="2025"/>
                    </a:lnTo>
                    <a:lnTo>
                      <a:pt x="1404" y="2026"/>
                    </a:lnTo>
                    <a:lnTo>
                      <a:pt x="1414" y="2028"/>
                    </a:lnTo>
                    <a:lnTo>
                      <a:pt x="1425" y="2029"/>
                    </a:lnTo>
                    <a:lnTo>
                      <a:pt x="1436" y="2032"/>
                    </a:lnTo>
                    <a:lnTo>
                      <a:pt x="1446" y="2034"/>
                    </a:lnTo>
                    <a:lnTo>
                      <a:pt x="1457" y="2038"/>
                    </a:lnTo>
                    <a:lnTo>
                      <a:pt x="1466" y="2041"/>
                    </a:lnTo>
                    <a:lnTo>
                      <a:pt x="1477" y="2046"/>
                    </a:lnTo>
                    <a:lnTo>
                      <a:pt x="1486" y="2051"/>
                    </a:lnTo>
                    <a:lnTo>
                      <a:pt x="1495" y="2057"/>
                    </a:lnTo>
                    <a:lnTo>
                      <a:pt x="1504" y="2063"/>
                    </a:lnTo>
                    <a:lnTo>
                      <a:pt x="1513" y="2069"/>
                    </a:lnTo>
                    <a:lnTo>
                      <a:pt x="1521" y="2075"/>
                    </a:lnTo>
                    <a:lnTo>
                      <a:pt x="1529" y="2083"/>
                    </a:lnTo>
                    <a:lnTo>
                      <a:pt x="1536" y="2089"/>
                    </a:lnTo>
                    <a:lnTo>
                      <a:pt x="1544" y="2096"/>
                    </a:lnTo>
                    <a:lnTo>
                      <a:pt x="1551" y="2105"/>
                    </a:lnTo>
                    <a:lnTo>
                      <a:pt x="1558" y="2113"/>
                    </a:lnTo>
                    <a:lnTo>
                      <a:pt x="1564" y="2122"/>
                    </a:lnTo>
                    <a:lnTo>
                      <a:pt x="1570" y="2131"/>
                    </a:lnTo>
                    <a:lnTo>
                      <a:pt x="1574" y="2140"/>
                    </a:lnTo>
                    <a:lnTo>
                      <a:pt x="1580" y="2150"/>
                    </a:lnTo>
                    <a:lnTo>
                      <a:pt x="1583" y="2159"/>
                    </a:lnTo>
                    <a:lnTo>
                      <a:pt x="1588" y="2169"/>
                    </a:lnTo>
                    <a:lnTo>
                      <a:pt x="1591" y="2180"/>
                    </a:lnTo>
                    <a:lnTo>
                      <a:pt x="1594" y="2191"/>
                    </a:lnTo>
                    <a:lnTo>
                      <a:pt x="1597" y="2201"/>
                    </a:lnTo>
                    <a:lnTo>
                      <a:pt x="1599" y="2212"/>
                    </a:lnTo>
                    <a:lnTo>
                      <a:pt x="1600" y="2223"/>
                    </a:lnTo>
                    <a:lnTo>
                      <a:pt x="1602" y="2233"/>
                    </a:lnTo>
                    <a:lnTo>
                      <a:pt x="1602" y="2246"/>
                    </a:lnTo>
                    <a:lnTo>
                      <a:pt x="1602" y="2256"/>
                    </a:lnTo>
                    <a:lnTo>
                      <a:pt x="1600" y="2268"/>
                    </a:lnTo>
                    <a:lnTo>
                      <a:pt x="1599" y="2279"/>
                    </a:lnTo>
                    <a:lnTo>
                      <a:pt x="1597" y="2290"/>
                    </a:lnTo>
                    <a:lnTo>
                      <a:pt x="1594" y="2300"/>
                    </a:lnTo>
                    <a:lnTo>
                      <a:pt x="1591" y="2311"/>
                    </a:lnTo>
                    <a:lnTo>
                      <a:pt x="1588" y="2322"/>
                    </a:lnTo>
                    <a:lnTo>
                      <a:pt x="1583" y="2331"/>
                    </a:lnTo>
                    <a:lnTo>
                      <a:pt x="1580" y="2341"/>
                    </a:lnTo>
                    <a:lnTo>
                      <a:pt x="1574" y="2351"/>
                    </a:lnTo>
                    <a:lnTo>
                      <a:pt x="1570" y="2360"/>
                    </a:lnTo>
                    <a:lnTo>
                      <a:pt x="1564" y="2369"/>
                    </a:lnTo>
                    <a:lnTo>
                      <a:pt x="1558" y="2378"/>
                    </a:lnTo>
                    <a:lnTo>
                      <a:pt x="1551" y="2386"/>
                    </a:lnTo>
                    <a:lnTo>
                      <a:pt x="1544" y="2393"/>
                    </a:lnTo>
                    <a:lnTo>
                      <a:pt x="1536" y="2401"/>
                    </a:lnTo>
                    <a:lnTo>
                      <a:pt x="1529" y="2408"/>
                    </a:lnTo>
                    <a:lnTo>
                      <a:pt x="1521" y="2416"/>
                    </a:lnTo>
                    <a:lnTo>
                      <a:pt x="1513" y="2422"/>
                    </a:lnTo>
                    <a:lnTo>
                      <a:pt x="1504" y="2428"/>
                    </a:lnTo>
                    <a:lnTo>
                      <a:pt x="1495" y="2434"/>
                    </a:lnTo>
                    <a:lnTo>
                      <a:pt x="1486" y="2439"/>
                    </a:lnTo>
                    <a:lnTo>
                      <a:pt x="1477" y="2443"/>
                    </a:lnTo>
                    <a:lnTo>
                      <a:pt x="1466" y="2448"/>
                    </a:lnTo>
                    <a:lnTo>
                      <a:pt x="1457" y="2453"/>
                    </a:lnTo>
                    <a:lnTo>
                      <a:pt x="1446" y="2456"/>
                    </a:lnTo>
                    <a:lnTo>
                      <a:pt x="1436" y="2459"/>
                    </a:lnTo>
                    <a:lnTo>
                      <a:pt x="1425" y="2462"/>
                    </a:lnTo>
                    <a:lnTo>
                      <a:pt x="1414" y="2463"/>
                    </a:lnTo>
                    <a:lnTo>
                      <a:pt x="1404" y="2465"/>
                    </a:lnTo>
                    <a:lnTo>
                      <a:pt x="1391" y="2465"/>
                    </a:lnTo>
                    <a:lnTo>
                      <a:pt x="1381" y="2466"/>
                    </a:lnTo>
                    <a:lnTo>
                      <a:pt x="1369" y="2465"/>
                    </a:lnTo>
                    <a:lnTo>
                      <a:pt x="1358" y="2465"/>
                    </a:lnTo>
                    <a:lnTo>
                      <a:pt x="1347" y="2463"/>
                    </a:lnTo>
                    <a:lnTo>
                      <a:pt x="1337" y="2462"/>
                    </a:lnTo>
                    <a:lnTo>
                      <a:pt x="1326" y="2459"/>
                    </a:lnTo>
                    <a:lnTo>
                      <a:pt x="1315" y="2456"/>
                    </a:lnTo>
                    <a:lnTo>
                      <a:pt x="1305" y="2453"/>
                    </a:lnTo>
                    <a:lnTo>
                      <a:pt x="1294" y="2448"/>
                    </a:lnTo>
                    <a:lnTo>
                      <a:pt x="1285" y="2443"/>
                    </a:lnTo>
                    <a:lnTo>
                      <a:pt x="1276" y="2439"/>
                    </a:lnTo>
                    <a:lnTo>
                      <a:pt x="1267" y="2434"/>
                    </a:lnTo>
                    <a:lnTo>
                      <a:pt x="1257" y="2428"/>
                    </a:lnTo>
                    <a:lnTo>
                      <a:pt x="1248" y="2422"/>
                    </a:lnTo>
                    <a:lnTo>
                      <a:pt x="1241" y="2416"/>
                    </a:lnTo>
                    <a:lnTo>
                      <a:pt x="1231" y="2408"/>
                    </a:lnTo>
                    <a:lnTo>
                      <a:pt x="1224" y="2401"/>
                    </a:lnTo>
                    <a:lnTo>
                      <a:pt x="1218" y="2393"/>
                    </a:lnTo>
                    <a:lnTo>
                      <a:pt x="1210" y="2386"/>
                    </a:lnTo>
                    <a:lnTo>
                      <a:pt x="1204" y="2378"/>
                    </a:lnTo>
                    <a:lnTo>
                      <a:pt x="1198" y="2369"/>
                    </a:lnTo>
                    <a:lnTo>
                      <a:pt x="1192" y="2360"/>
                    </a:lnTo>
                    <a:lnTo>
                      <a:pt x="1187" y="2351"/>
                    </a:lnTo>
                    <a:lnTo>
                      <a:pt x="1181" y="2341"/>
                    </a:lnTo>
                    <a:lnTo>
                      <a:pt x="1177" y="2331"/>
                    </a:lnTo>
                    <a:lnTo>
                      <a:pt x="1174" y="2322"/>
                    </a:lnTo>
                    <a:lnTo>
                      <a:pt x="1171" y="2311"/>
                    </a:lnTo>
                    <a:lnTo>
                      <a:pt x="1168" y="2300"/>
                    </a:lnTo>
                    <a:lnTo>
                      <a:pt x="1164" y="2290"/>
                    </a:lnTo>
                    <a:lnTo>
                      <a:pt x="1163" y="2279"/>
                    </a:lnTo>
                    <a:lnTo>
                      <a:pt x="1161" y="2268"/>
                    </a:lnTo>
                    <a:lnTo>
                      <a:pt x="1160" y="2256"/>
                    </a:lnTo>
                    <a:lnTo>
                      <a:pt x="1160" y="2246"/>
                    </a:lnTo>
                    <a:lnTo>
                      <a:pt x="1160" y="2233"/>
                    </a:lnTo>
                    <a:lnTo>
                      <a:pt x="1161" y="2223"/>
                    </a:lnTo>
                    <a:lnTo>
                      <a:pt x="1163" y="2212"/>
                    </a:lnTo>
                    <a:lnTo>
                      <a:pt x="1164" y="2201"/>
                    </a:lnTo>
                    <a:lnTo>
                      <a:pt x="1168" y="2191"/>
                    </a:lnTo>
                    <a:lnTo>
                      <a:pt x="1171" y="2180"/>
                    </a:lnTo>
                    <a:lnTo>
                      <a:pt x="1174" y="2169"/>
                    </a:lnTo>
                    <a:lnTo>
                      <a:pt x="1177" y="2159"/>
                    </a:lnTo>
                    <a:lnTo>
                      <a:pt x="1181" y="2150"/>
                    </a:lnTo>
                    <a:lnTo>
                      <a:pt x="1187" y="2140"/>
                    </a:lnTo>
                    <a:lnTo>
                      <a:pt x="1192" y="2131"/>
                    </a:lnTo>
                    <a:lnTo>
                      <a:pt x="1198" y="2122"/>
                    </a:lnTo>
                    <a:lnTo>
                      <a:pt x="1204" y="2113"/>
                    </a:lnTo>
                    <a:lnTo>
                      <a:pt x="1210" y="2105"/>
                    </a:lnTo>
                    <a:lnTo>
                      <a:pt x="1218" y="2096"/>
                    </a:lnTo>
                    <a:lnTo>
                      <a:pt x="1224" y="2089"/>
                    </a:lnTo>
                    <a:lnTo>
                      <a:pt x="1231" y="2083"/>
                    </a:lnTo>
                    <a:lnTo>
                      <a:pt x="1241" y="2075"/>
                    </a:lnTo>
                    <a:lnTo>
                      <a:pt x="1248" y="2069"/>
                    </a:lnTo>
                    <a:lnTo>
                      <a:pt x="1257" y="2063"/>
                    </a:lnTo>
                    <a:lnTo>
                      <a:pt x="1267" y="2057"/>
                    </a:lnTo>
                    <a:lnTo>
                      <a:pt x="1276" y="2051"/>
                    </a:lnTo>
                    <a:lnTo>
                      <a:pt x="1285" y="2046"/>
                    </a:lnTo>
                    <a:lnTo>
                      <a:pt x="1294" y="2041"/>
                    </a:lnTo>
                    <a:lnTo>
                      <a:pt x="1305" y="2038"/>
                    </a:lnTo>
                    <a:lnTo>
                      <a:pt x="1315" y="2034"/>
                    </a:lnTo>
                    <a:lnTo>
                      <a:pt x="1326" y="2032"/>
                    </a:lnTo>
                    <a:lnTo>
                      <a:pt x="1337" y="2029"/>
                    </a:lnTo>
                    <a:lnTo>
                      <a:pt x="1347" y="2028"/>
                    </a:lnTo>
                    <a:lnTo>
                      <a:pt x="1358" y="2026"/>
                    </a:lnTo>
                    <a:lnTo>
                      <a:pt x="1369" y="2025"/>
                    </a:lnTo>
                    <a:lnTo>
                      <a:pt x="1381" y="2025"/>
                    </a:lnTo>
                    <a:close/>
                    <a:moveTo>
                      <a:pt x="863" y="2025"/>
                    </a:moveTo>
                    <a:lnTo>
                      <a:pt x="875" y="2025"/>
                    </a:lnTo>
                    <a:lnTo>
                      <a:pt x="886" y="2026"/>
                    </a:lnTo>
                    <a:lnTo>
                      <a:pt x="896" y="2028"/>
                    </a:lnTo>
                    <a:lnTo>
                      <a:pt x="907" y="2029"/>
                    </a:lnTo>
                    <a:lnTo>
                      <a:pt x="918" y="2032"/>
                    </a:lnTo>
                    <a:lnTo>
                      <a:pt x="928" y="2034"/>
                    </a:lnTo>
                    <a:lnTo>
                      <a:pt x="939" y="2038"/>
                    </a:lnTo>
                    <a:lnTo>
                      <a:pt x="950" y="2041"/>
                    </a:lnTo>
                    <a:lnTo>
                      <a:pt x="959" y="2046"/>
                    </a:lnTo>
                    <a:lnTo>
                      <a:pt x="968" y="2051"/>
                    </a:lnTo>
                    <a:lnTo>
                      <a:pt x="977" y="2057"/>
                    </a:lnTo>
                    <a:lnTo>
                      <a:pt x="986" y="2063"/>
                    </a:lnTo>
                    <a:lnTo>
                      <a:pt x="995" y="2069"/>
                    </a:lnTo>
                    <a:lnTo>
                      <a:pt x="1003" y="2075"/>
                    </a:lnTo>
                    <a:lnTo>
                      <a:pt x="1012" y="2083"/>
                    </a:lnTo>
                    <a:lnTo>
                      <a:pt x="1020" y="2089"/>
                    </a:lnTo>
                    <a:lnTo>
                      <a:pt x="1026" y="2096"/>
                    </a:lnTo>
                    <a:lnTo>
                      <a:pt x="1033" y="2105"/>
                    </a:lnTo>
                    <a:lnTo>
                      <a:pt x="1040" y="2113"/>
                    </a:lnTo>
                    <a:lnTo>
                      <a:pt x="1046" y="2122"/>
                    </a:lnTo>
                    <a:lnTo>
                      <a:pt x="1052" y="2131"/>
                    </a:lnTo>
                    <a:lnTo>
                      <a:pt x="1058" y="2140"/>
                    </a:lnTo>
                    <a:lnTo>
                      <a:pt x="1062" y="2150"/>
                    </a:lnTo>
                    <a:lnTo>
                      <a:pt x="1067" y="2159"/>
                    </a:lnTo>
                    <a:lnTo>
                      <a:pt x="1070" y="2169"/>
                    </a:lnTo>
                    <a:lnTo>
                      <a:pt x="1075" y="2180"/>
                    </a:lnTo>
                    <a:lnTo>
                      <a:pt x="1076" y="2191"/>
                    </a:lnTo>
                    <a:lnTo>
                      <a:pt x="1079" y="2201"/>
                    </a:lnTo>
                    <a:lnTo>
                      <a:pt x="1081" y="2212"/>
                    </a:lnTo>
                    <a:lnTo>
                      <a:pt x="1082" y="2223"/>
                    </a:lnTo>
                    <a:lnTo>
                      <a:pt x="1084" y="2233"/>
                    </a:lnTo>
                    <a:lnTo>
                      <a:pt x="1084" y="2246"/>
                    </a:lnTo>
                    <a:lnTo>
                      <a:pt x="1084" y="2256"/>
                    </a:lnTo>
                    <a:lnTo>
                      <a:pt x="1082" y="2268"/>
                    </a:lnTo>
                    <a:lnTo>
                      <a:pt x="1081" y="2279"/>
                    </a:lnTo>
                    <a:lnTo>
                      <a:pt x="1079" y="2290"/>
                    </a:lnTo>
                    <a:lnTo>
                      <a:pt x="1076" y="2300"/>
                    </a:lnTo>
                    <a:lnTo>
                      <a:pt x="1075" y="2311"/>
                    </a:lnTo>
                    <a:lnTo>
                      <a:pt x="1070" y="2322"/>
                    </a:lnTo>
                    <a:lnTo>
                      <a:pt x="1067" y="2331"/>
                    </a:lnTo>
                    <a:lnTo>
                      <a:pt x="1062" y="2341"/>
                    </a:lnTo>
                    <a:lnTo>
                      <a:pt x="1058" y="2351"/>
                    </a:lnTo>
                    <a:lnTo>
                      <a:pt x="1052" y="2360"/>
                    </a:lnTo>
                    <a:lnTo>
                      <a:pt x="1046" y="2369"/>
                    </a:lnTo>
                    <a:lnTo>
                      <a:pt x="1040" y="2378"/>
                    </a:lnTo>
                    <a:lnTo>
                      <a:pt x="1033" y="2386"/>
                    </a:lnTo>
                    <a:lnTo>
                      <a:pt x="1026" y="2393"/>
                    </a:lnTo>
                    <a:lnTo>
                      <a:pt x="1020" y="2401"/>
                    </a:lnTo>
                    <a:lnTo>
                      <a:pt x="1012" y="2408"/>
                    </a:lnTo>
                    <a:lnTo>
                      <a:pt x="1003" y="2416"/>
                    </a:lnTo>
                    <a:lnTo>
                      <a:pt x="995" y="2422"/>
                    </a:lnTo>
                    <a:lnTo>
                      <a:pt x="986" y="2428"/>
                    </a:lnTo>
                    <a:lnTo>
                      <a:pt x="977" y="2434"/>
                    </a:lnTo>
                    <a:lnTo>
                      <a:pt x="968" y="2439"/>
                    </a:lnTo>
                    <a:lnTo>
                      <a:pt x="959" y="2443"/>
                    </a:lnTo>
                    <a:lnTo>
                      <a:pt x="950" y="2448"/>
                    </a:lnTo>
                    <a:lnTo>
                      <a:pt x="939" y="2453"/>
                    </a:lnTo>
                    <a:lnTo>
                      <a:pt x="928" y="2456"/>
                    </a:lnTo>
                    <a:lnTo>
                      <a:pt x="918" y="2459"/>
                    </a:lnTo>
                    <a:lnTo>
                      <a:pt x="907" y="2462"/>
                    </a:lnTo>
                    <a:lnTo>
                      <a:pt x="896" y="2463"/>
                    </a:lnTo>
                    <a:lnTo>
                      <a:pt x="886" y="2465"/>
                    </a:lnTo>
                    <a:lnTo>
                      <a:pt x="875" y="2465"/>
                    </a:lnTo>
                    <a:lnTo>
                      <a:pt x="863" y="2466"/>
                    </a:lnTo>
                    <a:lnTo>
                      <a:pt x="852" y="2465"/>
                    </a:lnTo>
                    <a:lnTo>
                      <a:pt x="840" y="2465"/>
                    </a:lnTo>
                    <a:lnTo>
                      <a:pt x="829" y="2463"/>
                    </a:lnTo>
                    <a:lnTo>
                      <a:pt x="819" y="2462"/>
                    </a:lnTo>
                    <a:lnTo>
                      <a:pt x="808" y="2459"/>
                    </a:lnTo>
                    <a:lnTo>
                      <a:pt x="797" y="2456"/>
                    </a:lnTo>
                    <a:lnTo>
                      <a:pt x="787" y="2453"/>
                    </a:lnTo>
                    <a:lnTo>
                      <a:pt x="777" y="2448"/>
                    </a:lnTo>
                    <a:lnTo>
                      <a:pt x="767" y="2443"/>
                    </a:lnTo>
                    <a:lnTo>
                      <a:pt x="758" y="2439"/>
                    </a:lnTo>
                    <a:lnTo>
                      <a:pt x="749" y="2434"/>
                    </a:lnTo>
                    <a:lnTo>
                      <a:pt x="739" y="2428"/>
                    </a:lnTo>
                    <a:lnTo>
                      <a:pt x="732" y="2422"/>
                    </a:lnTo>
                    <a:lnTo>
                      <a:pt x="723" y="2416"/>
                    </a:lnTo>
                    <a:lnTo>
                      <a:pt x="715" y="2408"/>
                    </a:lnTo>
                    <a:lnTo>
                      <a:pt x="707" y="2401"/>
                    </a:lnTo>
                    <a:lnTo>
                      <a:pt x="700" y="2393"/>
                    </a:lnTo>
                    <a:lnTo>
                      <a:pt x="692" y="2386"/>
                    </a:lnTo>
                    <a:lnTo>
                      <a:pt x="686" y="2378"/>
                    </a:lnTo>
                    <a:lnTo>
                      <a:pt x="680" y="2369"/>
                    </a:lnTo>
                    <a:lnTo>
                      <a:pt x="674" y="2360"/>
                    </a:lnTo>
                    <a:lnTo>
                      <a:pt x="669" y="2351"/>
                    </a:lnTo>
                    <a:lnTo>
                      <a:pt x="665" y="2341"/>
                    </a:lnTo>
                    <a:lnTo>
                      <a:pt x="660" y="2331"/>
                    </a:lnTo>
                    <a:lnTo>
                      <a:pt x="656" y="2322"/>
                    </a:lnTo>
                    <a:lnTo>
                      <a:pt x="653" y="2311"/>
                    </a:lnTo>
                    <a:lnTo>
                      <a:pt x="649" y="2300"/>
                    </a:lnTo>
                    <a:lnTo>
                      <a:pt x="646" y="2290"/>
                    </a:lnTo>
                    <a:lnTo>
                      <a:pt x="645" y="2279"/>
                    </a:lnTo>
                    <a:lnTo>
                      <a:pt x="643" y="2268"/>
                    </a:lnTo>
                    <a:lnTo>
                      <a:pt x="642" y="2256"/>
                    </a:lnTo>
                    <a:lnTo>
                      <a:pt x="642" y="2246"/>
                    </a:lnTo>
                    <a:lnTo>
                      <a:pt x="642" y="2233"/>
                    </a:lnTo>
                    <a:lnTo>
                      <a:pt x="643" y="2223"/>
                    </a:lnTo>
                    <a:lnTo>
                      <a:pt x="645" y="2212"/>
                    </a:lnTo>
                    <a:lnTo>
                      <a:pt x="646" y="2201"/>
                    </a:lnTo>
                    <a:lnTo>
                      <a:pt x="649" y="2191"/>
                    </a:lnTo>
                    <a:lnTo>
                      <a:pt x="653" y="2180"/>
                    </a:lnTo>
                    <a:lnTo>
                      <a:pt x="656" y="2169"/>
                    </a:lnTo>
                    <a:lnTo>
                      <a:pt x="660" y="2159"/>
                    </a:lnTo>
                    <a:lnTo>
                      <a:pt x="665" y="2150"/>
                    </a:lnTo>
                    <a:lnTo>
                      <a:pt x="669" y="2140"/>
                    </a:lnTo>
                    <a:lnTo>
                      <a:pt x="674" y="2131"/>
                    </a:lnTo>
                    <a:lnTo>
                      <a:pt x="680" y="2122"/>
                    </a:lnTo>
                    <a:lnTo>
                      <a:pt x="686" y="2113"/>
                    </a:lnTo>
                    <a:lnTo>
                      <a:pt x="692" y="2105"/>
                    </a:lnTo>
                    <a:lnTo>
                      <a:pt x="700" y="2096"/>
                    </a:lnTo>
                    <a:lnTo>
                      <a:pt x="707" y="2089"/>
                    </a:lnTo>
                    <a:lnTo>
                      <a:pt x="715" y="2083"/>
                    </a:lnTo>
                    <a:lnTo>
                      <a:pt x="723" y="2075"/>
                    </a:lnTo>
                    <a:lnTo>
                      <a:pt x="732" y="2069"/>
                    </a:lnTo>
                    <a:lnTo>
                      <a:pt x="739" y="2063"/>
                    </a:lnTo>
                    <a:lnTo>
                      <a:pt x="749" y="2057"/>
                    </a:lnTo>
                    <a:lnTo>
                      <a:pt x="758" y="2051"/>
                    </a:lnTo>
                    <a:lnTo>
                      <a:pt x="767" y="2046"/>
                    </a:lnTo>
                    <a:lnTo>
                      <a:pt x="777" y="2041"/>
                    </a:lnTo>
                    <a:lnTo>
                      <a:pt x="787" y="2038"/>
                    </a:lnTo>
                    <a:lnTo>
                      <a:pt x="797" y="2034"/>
                    </a:lnTo>
                    <a:lnTo>
                      <a:pt x="808" y="2032"/>
                    </a:lnTo>
                    <a:lnTo>
                      <a:pt x="819" y="2029"/>
                    </a:lnTo>
                    <a:lnTo>
                      <a:pt x="829" y="2028"/>
                    </a:lnTo>
                    <a:lnTo>
                      <a:pt x="840" y="2026"/>
                    </a:lnTo>
                    <a:lnTo>
                      <a:pt x="852" y="2025"/>
                    </a:lnTo>
                    <a:lnTo>
                      <a:pt x="863" y="2025"/>
                    </a:lnTo>
                    <a:close/>
                    <a:moveTo>
                      <a:pt x="345" y="2466"/>
                    </a:moveTo>
                    <a:lnTo>
                      <a:pt x="334" y="2465"/>
                    </a:lnTo>
                    <a:lnTo>
                      <a:pt x="322" y="2465"/>
                    </a:lnTo>
                    <a:lnTo>
                      <a:pt x="311" y="2463"/>
                    </a:lnTo>
                    <a:lnTo>
                      <a:pt x="301" y="2462"/>
                    </a:lnTo>
                    <a:lnTo>
                      <a:pt x="290" y="2459"/>
                    </a:lnTo>
                    <a:lnTo>
                      <a:pt x="279" y="2456"/>
                    </a:lnTo>
                    <a:lnTo>
                      <a:pt x="269" y="2453"/>
                    </a:lnTo>
                    <a:lnTo>
                      <a:pt x="259" y="2448"/>
                    </a:lnTo>
                    <a:lnTo>
                      <a:pt x="250" y="2443"/>
                    </a:lnTo>
                    <a:lnTo>
                      <a:pt x="240" y="2439"/>
                    </a:lnTo>
                    <a:lnTo>
                      <a:pt x="230" y="2434"/>
                    </a:lnTo>
                    <a:lnTo>
                      <a:pt x="221" y="2428"/>
                    </a:lnTo>
                    <a:lnTo>
                      <a:pt x="214" y="2422"/>
                    </a:lnTo>
                    <a:lnTo>
                      <a:pt x="205" y="2416"/>
                    </a:lnTo>
                    <a:lnTo>
                      <a:pt x="197" y="2408"/>
                    </a:lnTo>
                    <a:lnTo>
                      <a:pt x="189" y="2401"/>
                    </a:lnTo>
                    <a:lnTo>
                      <a:pt x="182" y="2393"/>
                    </a:lnTo>
                    <a:lnTo>
                      <a:pt x="174" y="2386"/>
                    </a:lnTo>
                    <a:lnTo>
                      <a:pt x="168" y="2378"/>
                    </a:lnTo>
                    <a:lnTo>
                      <a:pt x="162" y="2369"/>
                    </a:lnTo>
                    <a:lnTo>
                      <a:pt x="156" y="2360"/>
                    </a:lnTo>
                    <a:lnTo>
                      <a:pt x="151" y="2351"/>
                    </a:lnTo>
                    <a:lnTo>
                      <a:pt x="147" y="2341"/>
                    </a:lnTo>
                    <a:lnTo>
                      <a:pt x="142" y="2331"/>
                    </a:lnTo>
                    <a:lnTo>
                      <a:pt x="138" y="2322"/>
                    </a:lnTo>
                    <a:lnTo>
                      <a:pt x="134" y="2311"/>
                    </a:lnTo>
                    <a:lnTo>
                      <a:pt x="131" y="2300"/>
                    </a:lnTo>
                    <a:lnTo>
                      <a:pt x="128" y="2290"/>
                    </a:lnTo>
                    <a:lnTo>
                      <a:pt x="127" y="2279"/>
                    </a:lnTo>
                    <a:lnTo>
                      <a:pt x="125" y="2268"/>
                    </a:lnTo>
                    <a:lnTo>
                      <a:pt x="125" y="2256"/>
                    </a:lnTo>
                    <a:lnTo>
                      <a:pt x="124" y="2246"/>
                    </a:lnTo>
                    <a:lnTo>
                      <a:pt x="125" y="2233"/>
                    </a:lnTo>
                    <a:lnTo>
                      <a:pt x="125" y="2223"/>
                    </a:lnTo>
                    <a:lnTo>
                      <a:pt x="127" y="2212"/>
                    </a:lnTo>
                    <a:lnTo>
                      <a:pt x="128" y="2201"/>
                    </a:lnTo>
                    <a:lnTo>
                      <a:pt x="131" y="2191"/>
                    </a:lnTo>
                    <a:lnTo>
                      <a:pt x="134" y="2180"/>
                    </a:lnTo>
                    <a:lnTo>
                      <a:pt x="138" y="2169"/>
                    </a:lnTo>
                    <a:lnTo>
                      <a:pt x="142" y="2159"/>
                    </a:lnTo>
                    <a:lnTo>
                      <a:pt x="147" y="2150"/>
                    </a:lnTo>
                    <a:lnTo>
                      <a:pt x="151" y="2140"/>
                    </a:lnTo>
                    <a:lnTo>
                      <a:pt x="156" y="2131"/>
                    </a:lnTo>
                    <a:lnTo>
                      <a:pt x="162" y="2122"/>
                    </a:lnTo>
                    <a:lnTo>
                      <a:pt x="168" y="2113"/>
                    </a:lnTo>
                    <a:lnTo>
                      <a:pt x="174" y="2105"/>
                    </a:lnTo>
                    <a:lnTo>
                      <a:pt x="182" y="2096"/>
                    </a:lnTo>
                    <a:lnTo>
                      <a:pt x="189" y="2089"/>
                    </a:lnTo>
                    <a:lnTo>
                      <a:pt x="197" y="2083"/>
                    </a:lnTo>
                    <a:lnTo>
                      <a:pt x="205" y="2075"/>
                    </a:lnTo>
                    <a:lnTo>
                      <a:pt x="214" y="2069"/>
                    </a:lnTo>
                    <a:lnTo>
                      <a:pt x="221" y="2063"/>
                    </a:lnTo>
                    <a:lnTo>
                      <a:pt x="230" y="2057"/>
                    </a:lnTo>
                    <a:lnTo>
                      <a:pt x="240" y="2051"/>
                    </a:lnTo>
                    <a:lnTo>
                      <a:pt x="250" y="2046"/>
                    </a:lnTo>
                    <a:lnTo>
                      <a:pt x="259" y="2041"/>
                    </a:lnTo>
                    <a:lnTo>
                      <a:pt x="269" y="2038"/>
                    </a:lnTo>
                    <a:lnTo>
                      <a:pt x="279" y="2034"/>
                    </a:lnTo>
                    <a:lnTo>
                      <a:pt x="290" y="2032"/>
                    </a:lnTo>
                    <a:lnTo>
                      <a:pt x="301" y="2029"/>
                    </a:lnTo>
                    <a:lnTo>
                      <a:pt x="311" y="2028"/>
                    </a:lnTo>
                    <a:lnTo>
                      <a:pt x="322" y="2026"/>
                    </a:lnTo>
                    <a:lnTo>
                      <a:pt x="334" y="2025"/>
                    </a:lnTo>
                    <a:lnTo>
                      <a:pt x="345" y="2025"/>
                    </a:lnTo>
                    <a:lnTo>
                      <a:pt x="357" y="2025"/>
                    </a:lnTo>
                    <a:lnTo>
                      <a:pt x="368" y="2026"/>
                    </a:lnTo>
                    <a:lnTo>
                      <a:pt x="378" y="2028"/>
                    </a:lnTo>
                    <a:lnTo>
                      <a:pt x="389" y="2029"/>
                    </a:lnTo>
                    <a:lnTo>
                      <a:pt x="401" y="2032"/>
                    </a:lnTo>
                    <a:lnTo>
                      <a:pt x="410" y="2034"/>
                    </a:lnTo>
                    <a:lnTo>
                      <a:pt x="421" y="2038"/>
                    </a:lnTo>
                    <a:lnTo>
                      <a:pt x="432" y="2041"/>
                    </a:lnTo>
                    <a:lnTo>
                      <a:pt x="441" y="2046"/>
                    </a:lnTo>
                    <a:lnTo>
                      <a:pt x="451" y="2051"/>
                    </a:lnTo>
                    <a:lnTo>
                      <a:pt x="461" y="2057"/>
                    </a:lnTo>
                    <a:lnTo>
                      <a:pt x="468" y="2063"/>
                    </a:lnTo>
                    <a:lnTo>
                      <a:pt x="477" y="2069"/>
                    </a:lnTo>
                    <a:lnTo>
                      <a:pt x="486" y="2075"/>
                    </a:lnTo>
                    <a:lnTo>
                      <a:pt x="494" y="2083"/>
                    </a:lnTo>
                    <a:lnTo>
                      <a:pt x="502" y="2089"/>
                    </a:lnTo>
                    <a:lnTo>
                      <a:pt x="509" y="2096"/>
                    </a:lnTo>
                    <a:lnTo>
                      <a:pt x="515" y="2105"/>
                    </a:lnTo>
                    <a:lnTo>
                      <a:pt x="523" y="2113"/>
                    </a:lnTo>
                    <a:lnTo>
                      <a:pt x="529" y="2122"/>
                    </a:lnTo>
                    <a:lnTo>
                      <a:pt x="534" y="2131"/>
                    </a:lnTo>
                    <a:lnTo>
                      <a:pt x="540" y="2140"/>
                    </a:lnTo>
                    <a:lnTo>
                      <a:pt x="544" y="2150"/>
                    </a:lnTo>
                    <a:lnTo>
                      <a:pt x="549" y="2159"/>
                    </a:lnTo>
                    <a:lnTo>
                      <a:pt x="553" y="2169"/>
                    </a:lnTo>
                    <a:lnTo>
                      <a:pt x="557" y="2180"/>
                    </a:lnTo>
                    <a:lnTo>
                      <a:pt x="560" y="2191"/>
                    </a:lnTo>
                    <a:lnTo>
                      <a:pt x="561" y="2201"/>
                    </a:lnTo>
                    <a:lnTo>
                      <a:pt x="564" y="2212"/>
                    </a:lnTo>
                    <a:lnTo>
                      <a:pt x="566" y="2223"/>
                    </a:lnTo>
                    <a:lnTo>
                      <a:pt x="566" y="2233"/>
                    </a:lnTo>
                    <a:lnTo>
                      <a:pt x="566" y="2246"/>
                    </a:lnTo>
                    <a:lnTo>
                      <a:pt x="566" y="2256"/>
                    </a:lnTo>
                    <a:lnTo>
                      <a:pt x="566" y="2268"/>
                    </a:lnTo>
                    <a:lnTo>
                      <a:pt x="564" y="2279"/>
                    </a:lnTo>
                    <a:lnTo>
                      <a:pt x="561" y="2290"/>
                    </a:lnTo>
                    <a:lnTo>
                      <a:pt x="560" y="2300"/>
                    </a:lnTo>
                    <a:lnTo>
                      <a:pt x="557" y="2311"/>
                    </a:lnTo>
                    <a:lnTo>
                      <a:pt x="553" y="2322"/>
                    </a:lnTo>
                    <a:lnTo>
                      <a:pt x="549" y="2331"/>
                    </a:lnTo>
                    <a:lnTo>
                      <a:pt x="544" y="2341"/>
                    </a:lnTo>
                    <a:lnTo>
                      <a:pt x="540" y="2351"/>
                    </a:lnTo>
                    <a:lnTo>
                      <a:pt x="534" y="2360"/>
                    </a:lnTo>
                    <a:lnTo>
                      <a:pt x="529" y="2369"/>
                    </a:lnTo>
                    <a:lnTo>
                      <a:pt x="523" y="2378"/>
                    </a:lnTo>
                    <a:lnTo>
                      <a:pt x="515" y="2386"/>
                    </a:lnTo>
                    <a:lnTo>
                      <a:pt x="509" y="2393"/>
                    </a:lnTo>
                    <a:lnTo>
                      <a:pt x="502" y="2401"/>
                    </a:lnTo>
                    <a:lnTo>
                      <a:pt x="494" y="2408"/>
                    </a:lnTo>
                    <a:lnTo>
                      <a:pt x="486" y="2416"/>
                    </a:lnTo>
                    <a:lnTo>
                      <a:pt x="477" y="2422"/>
                    </a:lnTo>
                    <a:lnTo>
                      <a:pt x="468" y="2428"/>
                    </a:lnTo>
                    <a:lnTo>
                      <a:pt x="461" y="2434"/>
                    </a:lnTo>
                    <a:lnTo>
                      <a:pt x="451" y="2439"/>
                    </a:lnTo>
                    <a:lnTo>
                      <a:pt x="441" y="2443"/>
                    </a:lnTo>
                    <a:lnTo>
                      <a:pt x="432" y="2448"/>
                    </a:lnTo>
                    <a:lnTo>
                      <a:pt x="421" y="2453"/>
                    </a:lnTo>
                    <a:lnTo>
                      <a:pt x="410" y="2456"/>
                    </a:lnTo>
                    <a:lnTo>
                      <a:pt x="401" y="2459"/>
                    </a:lnTo>
                    <a:lnTo>
                      <a:pt x="389" y="2462"/>
                    </a:lnTo>
                    <a:lnTo>
                      <a:pt x="378" y="2463"/>
                    </a:lnTo>
                    <a:lnTo>
                      <a:pt x="368" y="2465"/>
                    </a:lnTo>
                    <a:lnTo>
                      <a:pt x="357" y="2465"/>
                    </a:lnTo>
                    <a:lnTo>
                      <a:pt x="345" y="2466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2962">
                  <a:defRPr/>
                </a:pPr>
                <a:endParaRPr lang="ru-RU" sz="1837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4" name="Freeform 8"/>
              <p:cNvSpPr>
                <a:spLocks noEditPoints="1"/>
              </p:cNvSpPr>
              <p:nvPr userDrawn="1"/>
            </p:nvSpPr>
            <p:spPr bwMode="ltGray">
              <a:xfrm>
                <a:off x="518245" y="-14567"/>
                <a:ext cx="647299" cy="1183839"/>
              </a:xfrm>
              <a:custGeom>
                <a:avLst/>
                <a:gdLst>
                  <a:gd name="T0" fmla="*/ 1394 w 1774"/>
                  <a:gd name="T1" fmla="*/ 1623 h 3228"/>
                  <a:gd name="T2" fmla="*/ 1403 w 1774"/>
                  <a:gd name="T3" fmla="*/ 1591 h 3228"/>
                  <a:gd name="T4" fmla="*/ 1420 w 1774"/>
                  <a:gd name="T5" fmla="*/ 1562 h 3228"/>
                  <a:gd name="T6" fmla="*/ 1443 w 1774"/>
                  <a:gd name="T7" fmla="*/ 1537 h 3228"/>
                  <a:gd name="T8" fmla="*/ 1470 w 1774"/>
                  <a:gd name="T9" fmla="*/ 1519 h 3228"/>
                  <a:gd name="T10" fmla="*/ 1502 w 1774"/>
                  <a:gd name="T11" fmla="*/ 1507 h 3228"/>
                  <a:gd name="T12" fmla="*/ 1530 w 1774"/>
                  <a:gd name="T13" fmla="*/ 1502 h 3228"/>
                  <a:gd name="T14" fmla="*/ 1530 w 1774"/>
                  <a:gd name="T15" fmla="*/ 1502 h 3228"/>
                  <a:gd name="T16" fmla="*/ 1530 w 1774"/>
                  <a:gd name="T17" fmla="*/ 1502 h 3228"/>
                  <a:gd name="T18" fmla="*/ 1530 w 1774"/>
                  <a:gd name="T19" fmla="*/ 1502 h 3228"/>
                  <a:gd name="T20" fmla="*/ 1757 w 1774"/>
                  <a:gd name="T21" fmla="*/ 1502 h 3228"/>
                  <a:gd name="T22" fmla="*/ 1761 w 1774"/>
                  <a:gd name="T23" fmla="*/ 1501 h 3228"/>
                  <a:gd name="T24" fmla="*/ 1766 w 1774"/>
                  <a:gd name="T25" fmla="*/ 1498 h 3228"/>
                  <a:gd name="T26" fmla="*/ 1769 w 1774"/>
                  <a:gd name="T27" fmla="*/ 1495 h 3228"/>
                  <a:gd name="T28" fmla="*/ 1770 w 1774"/>
                  <a:gd name="T29" fmla="*/ 1492 h 3228"/>
                  <a:gd name="T30" fmla="*/ 1772 w 1774"/>
                  <a:gd name="T31" fmla="*/ 1487 h 3228"/>
                  <a:gd name="T32" fmla="*/ 1774 w 1774"/>
                  <a:gd name="T33" fmla="*/ 1020 h 3228"/>
                  <a:gd name="T34" fmla="*/ 794 w 1774"/>
                  <a:gd name="T35" fmla="*/ 30 h 3228"/>
                  <a:gd name="T36" fmla="*/ 576 w 1774"/>
                  <a:gd name="T37" fmla="*/ 199 h 3228"/>
                  <a:gd name="T38" fmla="*/ 387 w 1774"/>
                  <a:gd name="T39" fmla="*/ 400 h 3228"/>
                  <a:gd name="T40" fmla="*/ 232 w 1774"/>
                  <a:gd name="T41" fmla="*/ 630 h 3228"/>
                  <a:gd name="T42" fmla="*/ 113 w 1774"/>
                  <a:gd name="T43" fmla="*/ 883 h 3228"/>
                  <a:gd name="T44" fmla="*/ 35 w 1774"/>
                  <a:gd name="T45" fmla="*/ 1155 h 3228"/>
                  <a:gd name="T46" fmla="*/ 2 w 1774"/>
                  <a:gd name="T47" fmla="*/ 1443 h 3228"/>
                  <a:gd name="T48" fmla="*/ 27 w 1774"/>
                  <a:gd name="T49" fmla="*/ 1813 h 3228"/>
                  <a:gd name="T50" fmla="*/ 133 w 1774"/>
                  <a:gd name="T51" fmla="*/ 2175 h 3228"/>
                  <a:gd name="T52" fmla="*/ 309 w 1774"/>
                  <a:gd name="T53" fmla="*/ 2500 h 3228"/>
                  <a:gd name="T54" fmla="*/ 549 w 1774"/>
                  <a:gd name="T55" fmla="*/ 2780 h 3228"/>
                  <a:gd name="T56" fmla="*/ 840 w 1774"/>
                  <a:gd name="T57" fmla="*/ 3005 h 3228"/>
                  <a:gd name="T58" fmla="*/ 1173 w 1774"/>
                  <a:gd name="T59" fmla="*/ 3167 h 3228"/>
                  <a:gd name="T60" fmla="*/ 1440 w 1774"/>
                  <a:gd name="T61" fmla="*/ 752 h 3228"/>
                  <a:gd name="T62" fmla="*/ 1495 w 1774"/>
                  <a:gd name="T63" fmla="*/ 762 h 3228"/>
                  <a:gd name="T64" fmla="*/ 1543 w 1774"/>
                  <a:gd name="T65" fmla="*/ 784 h 3228"/>
                  <a:gd name="T66" fmla="*/ 1585 w 1774"/>
                  <a:gd name="T67" fmla="*/ 816 h 3228"/>
                  <a:gd name="T68" fmla="*/ 1617 w 1774"/>
                  <a:gd name="T69" fmla="*/ 858 h 3228"/>
                  <a:gd name="T70" fmla="*/ 1639 w 1774"/>
                  <a:gd name="T71" fmla="*/ 907 h 3228"/>
                  <a:gd name="T72" fmla="*/ 1649 w 1774"/>
                  <a:gd name="T73" fmla="*/ 960 h 3228"/>
                  <a:gd name="T74" fmla="*/ 1644 w 1774"/>
                  <a:gd name="T75" fmla="*/ 1017 h 3228"/>
                  <a:gd name="T76" fmla="*/ 1627 w 1774"/>
                  <a:gd name="T77" fmla="*/ 1069 h 3228"/>
                  <a:gd name="T78" fmla="*/ 1598 w 1774"/>
                  <a:gd name="T79" fmla="*/ 1113 h 3228"/>
                  <a:gd name="T80" fmla="*/ 1560 w 1774"/>
                  <a:gd name="T81" fmla="*/ 1149 h 3228"/>
                  <a:gd name="T82" fmla="*/ 1515 w 1774"/>
                  <a:gd name="T83" fmla="*/ 1175 h 3228"/>
                  <a:gd name="T84" fmla="*/ 1463 w 1774"/>
                  <a:gd name="T85" fmla="*/ 1190 h 3228"/>
                  <a:gd name="T86" fmla="*/ 1406 w 1774"/>
                  <a:gd name="T87" fmla="*/ 1192 h 3228"/>
                  <a:gd name="T88" fmla="*/ 1353 w 1774"/>
                  <a:gd name="T89" fmla="*/ 1180 h 3228"/>
                  <a:gd name="T90" fmla="*/ 1304 w 1774"/>
                  <a:gd name="T91" fmla="*/ 1155 h 3228"/>
                  <a:gd name="T92" fmla="*/ 1265 w 1774"/>
                  <a:gd name="T93" fmla="*/ 1120 h 3228"/>
                  <a:gd name="T94" fmla="*/ 1234 w 1774"/>
                  <a:gd name="T95" fmla="*/ 1078 h 3228"/>
                  <a:gd name="T96" fmla="*/ 1214 w 1774"/>
                  <a:gd name="T97" fmla="*/ 1027 h 3228"/>
                  <a:gd name="T98" fmla="*/ 1208 w 1774"/>
                  <a:gd name="T99" fmla="*/ 973 h 3228"/>
                  <a:gd name="T100" fmla="*/ 1214 w 1774"/>
                  <a:gd name="T101" fmla="*/ 918 h 3228"/>
                  <a:gd name="T102" fmla="*/ 1234 w 1774"/>
                  <a:gd name="T103" fmla="*/ 868 h 3228"/>
                  <a:gd name="T104" fmla="*/ 1265 w 1774"/>
                  <a:gd name="T105" fmla="*/ 825 h 3228"/>
                  <a:gd name="T106" fmla="*/ 1304 w 1774"/>
                  <a:gd name="T107" fmla="*/ 790 h 3228"/>
                  <a:gd name="T108" fmla="*/ 1353 w 1774"/>
                  <a:gd name="T109" fmla="*/ 766 h 3228"/>
                  <a:gd name="T110" fmla="*/ 1406 w 1774"/>
                  <a:gd name="T111" fmla="*/ 753 h 3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74" h="3228">
                    <a:moveTo>
                      <a:pt x="1393" y="3228"/>
                    </a:moveTo>
                    <a:lnTo>
                      <a:pt x="1393" y="1644"/>
                    </a:lnTo>
                    <a:lnTo>
                      <a:pt x="1393" y="1636"/>
                    </a:lnTo>
                    <a:lnTo>
                      <a:pt x="1393" y="1630"/>
                    </a:lnTo>
                    <a:lnTo>
                      <a:pt x="1394" y="1623"/>
                    </a:lnTo>
                    <a:lnTo>
                      <a:pt x="1396" y="1617"/>
                    </a:lnTo>
                    <a:lnTo>
                      <a:pt x="1397" y="1609"/>
                    </a:lnTo>
                    <a:lnTo>
                      <a:pt x="1399" y="1603"/>
                    </a:lnTo>
                    <a:lnTo>
                      <a:pt x="1400" y="1597"/>
                    </a:lnTo>
                    <a:lnTo>
                      <a:pt x="1403" y="1591"/>
                    </a:lnTo>
                    <a:lnTo>
                      <a:pt x="1406" y="1585"/>
                    </a:lnTo>
                    <a:lnTo>
                      <a:pt x="1409" y="1579"/>
                    </a:lnTo>
                    <a:lnTo>
                      <a:pt x="1412" y="1573"/>
                    </a:lnTo>
                    <a:lnTo>
                      <a:pt x="1417" y="1566"/>
                    </a:lnTo>
                    <a:lnTo>
                      <a:pt x="1420" y="1562"/>
                    </a:lnTo>
                    <a:lnTo>
                      <a:pt x="1425" y="1556"/>
                    </a:lnTo>
                    <a:lnTo>
                      <a:pt x="1429" y="1551"/>
                    </a:lnTo>
                    <a:lnTo>
                      <a:pt x="1434" y="1547"/>
                    </a:lnTo>
                    <a:lnTo>
                      <a:pt x="1438" y="1542"/>
                    </a:lnTo>
                    <a:lnTo>
                      <a:pt x="1443" y="1537"/>
                    </a:lnTo>
                    <a:lnTo>
                      <a:pt x="1447" y="1533"/>
                    </a:lnTo>
                    <a:lnTo>
                      <a:pt x="1454" y="1528"/>
                    </a:lnTo>
                    <a:lnTo>
                      <a:pt x="1460" y="1525"/>
                    </a:lnTo>
                    <a:lnTo>
                      <a:pt x="1464" y="1522"/>
                    </a:lnTo>
                    <a:lnTo>
                      <a:pt x="1470" y="1519"/>
                    </a:lnTo>
                    <a:lnTo>
                      <a:pt x="1476" y="1516"/>
                    </a:lnTo>
                    <a:lnTo>
                      <a:pt x="1483" y="1513"/>
                    </a:lnTo>
                    <a:lnTo>
                      <a:pt x="1490" y="1510"/>
                    </a:lnTo>
                    <a:lnTo>
                      <a:pt x="1496" y="1509"/>
                    </a:lnTo>
                    <a:lnTo>
                      <a:pt x="1502" y="1507"/>
                    </a:lnTo>
                    <a:lnTo>
                      <a:pt x="1510" y="1506"/>
                    </a:lnTo>
                    <a:lnTo>
                      <a:pt x="1516" y="1504"/>
                    </a:lnTo>
                    <a:lnTo>
                      <a:pt x="1524" y="1504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754" y="1502"/>
                    </a:lnTo>
                    <a:lnTo>
                      <a:pt x="1754" y="1502"/>
                    </a:lnTo>
                    <a:lnTo>
                      <a:pt x="1755" y="1502"/>
                    </a:lnTo>
                    <a:lnTo>
                      <a:pt x="1757" y="1502"/>
                    </a:lnTo>
                    <a:lnTo>
                      <a:pt x="1757" y="1502"/>
                    </a:lnTo>
                    <a:lnTo>
                      <a:pt x="1758" y="1502"/>
                    </a:lnTo>
                    <a:lnTo>
                      <a:pt x="1758" y="1502"/>
                    </a:lnTo>
                    <a:lnTo>
                      <a:pt x="1760" y="1501"/>
                    </a:lnTo>
                    <a:lnTo>
                      <a:pt x="1760" y="1501"/>
                    </a:lnTo>
                    <a:lnTo>
                      <a:pt x="1761" y="1501"/>
                    </a:lnTo>
                    <a:lnTo>
                      <a:pt x="1763" y="1501"/>
                    </a:lnTo>
                    <a:lnTo>
                      <a:pt x="1763" y="1499"/>
                    </a:lnTo>
                    <a:lnTo>
                      <a:pt x="1764" y="1499"/>
                    </a:lnTo>
                    <a:lnTo>
                      <a:pt x="1764" y="1499"/>
                    </a:lnTo>
                    <a:lnTo>
                      <a:pt x="1766" y="1498"/>
                    </a:lnTo>
                    <a:lnTo>
                      <a:pt x="1766" y="1498"/>
                    </a:lnTo>
                    <a:lnTo>
                      <a:pt x="1766" y="1498"/>
                    </a:lnTo>
                    <a:lnTo>
                      <a:pt x="1767" y="1496"/>
                    </a:lnTo>
                    <a:lnTo>
                      <a:pt x="1767" y="1496"/>
                    </a:lnTo>
                    <a:lnTo>
                      <a:pt x="1769" y="1495"/>
                    </a:lnTo>
                    <a:lnTo>
                      <a:pt x="1769" y="1495"/>
                    </a:lnTo>
                    <a:lnTo>
                      <a:pt x="1769" y="1493"/>
                    </a:lnTo>
                    <a:lnTo>
                      <a:pt x="1770" y="1493"/>
                    </a:lnTo>
                    <a:lnTo>
                      <a:pt x="1770" y="1492"/>
                    </a:lnTo>
                    <a:lnTo>
                      <a:pt x="1770" y="1492"/>
                    </a:lnTo>
                    <a:lnTo>
                      <a:pt x="1770" y="1490"/>
                    </a:lnTo>
                    <a:lnTo>
                      <a:pt x="1770" y="1490"/>
                    </a:lnTo>
                    <a:lnTo>
                      <a:pt x="1772" y="1489"/>
                    </a:lnTo>
                    <a:lnTo>
                      <a:pt x="1772" y="1489"/>
                    </a:lnTo>
                    <a:lnTo>
                      <a:pt x="1772" y="1487"/>
                    </a:lnTo>
                    <a:lnTo>
                      <a:pt x="1772" y="1486"/>
                    </a:lnTo>
                    <a:lnTo>
                      <a:pt x="1774" y="1486"/>
                    </a:lnTo>
                    <a:lnTo>
                      <a:pt x="1774" y="1484"/>
                    </a:lnTo>
                    <a:lnTo>
                      <a:pt x="1774" y="1439"/>
                    </a:lnTo>
                    <a:lnTo>
                      <a:pt x="1774" y="1020"/>
                    </a:lnTo>
                    <a:lnTo>
                      <a:pt x="1774" y="600"/>
                    </a:lnTo>
                    <a:lnTo>
                      <a:pt x="1774" y="176"/>
                    </a:lnTo>
                    <a:lnTo>
                      <a:pt x="1774" y="0"/>
                    </a:lnTo>
                    <a:lnTo>
                      <a:pt x="841" y="0"/>
                    </a:lnTo>
                    <a:lnTo>
                      <a:pt x="794" y="30"/>
                    </a:lnTo>
                    <a:lnTo>
                      <a:pt x="748" y="61"/>
                    </a:lnTo>
                    <a:lnTo>
                      <a:pt x="702" y="94"/>
                    </a:lnTo>
                    <a:lnTo>
                      <a:pt x="660" y="128"/>
                    </a:lnTo>
                    <a:lnTo>
                      <a:pt x="617" y="163"/>
                    </a:lnTo>
                    <a:lnTo>
                      <a:pt x="576" y="199"/>
                    </a:lnTo>
                    <a:lnTo>
                      <a:pt x="535" y="237"/>
                    </a:lnTo>
                    <a:lnTo>
                      <a:pt x="497" y="277"/>
                    </a:lnTo>
                    <a:lnTo>
                      <a:pt x="459" y="316"/>
                    </a:lnTo>
                    <a:lnTo>
                      <a:pt x="422" y="357"/>
                    </a:lnTo>
                    <a:lnTo>
                      <a:pt x="387" y="400"/>
                    </a:lnTo>
                    <a:lnTo>
                      <a:pt x="353" y="444"/>
                    </a:lnTo>
                    <a:lnTo>
                      <a:pt x="320" y="490"/>
                    </a:lnTo>
                    <a:lnTo>
                      <a:pt x="290" y="536"/>
                    </a:lnTo>
                    <a:lnTo>
                      <a:pt x="259" y="581"/>
                    </a:lnTo>
                    <a:lnTo>
                      <a:pt x="232" y="630"/>
                    </a:lnTo>
                    <a:lnTo>
                      <a:pt x="204" y="679"/>
                    </a:lnTo>
                    <a:lnTo>
                      <a:pt x="180" y="727"/>
                    </a:lnTo>
                    <a:lnTo>
                      <a:pt x="155" y="779"/>
                    </a:lnTo>
                    <a:lnTo>
                      <a:pt x="133" y="829"/>
                    </a:lnTo>
                    <a:lnTo>
                      <a:pt x="113" y="883"/>
                    </a:lnTo>
                    <a:lnTo>
                      <a:pt x="93" y="935"/>
                    </a:lnTo>
                    <a:lnTo>
                      <a:pt x="76" y="989"/>
                    </a:lnTo>
                    <a:lnTo>
                      <a:pt x="61" y="1044"/>
                    </a:lnTo>
                    <a:lnTo>
                      <a:pt x="47" y="1099"/>
                    </a:lnTo>
                    <a:lnTo>
                      <a:pt x="35" y="1155"/>
                    </a:lnTo>
                    <a:lnTo>
                      <a:pt x="24" y="1212"/>
                    </a:lnTo>
                    <a:lnTo>
                      <a:pt x="15" y="1268"/>
                    </a:lnTo>
                    <a:lnTo>
                      <a:pt x="9" y="1326"/>
                    </a:lnTo>
                    <a:lnTo>
                      <a:pt x="5" y="1385"/>
                    </a:lnTo>
                    <a:lnTo>
                      <a:pt x="2" y="1443"/>
                    </a:lnTo>
                    <a:lnTo>
                      <a:pt x="0" y="1502"/>
                    </a:lnTo>
                    <a:lnTo>
                      <a:pt x="2" y="1582"/>
                    </a:lnTo>
                    <a:lnTo>
                      <a:pt x="8" y="1659"/>
                    </a:lnTo>
                    <a:lnTo>
                      <a:pt x="15" y="1737"/>
                    </a:lnTo>
                    <a:lnTo>
                      <a:pt x="27" y="1813"/>
                    </a:lnTo>
                    <a:lnTo>
                      <a:pt x="43" y="1888"/>
                    </a:lnTo>
                    <a:lnTo>
                      <a:pt x="61" y="1962"/>
                    </a:lnTo>
                    <a:lnTo>
                      <a:pt x="82" y="2034"/>
                    </a:lnTo>
                    <a:lnTo>
                      <a:pt x="105" y="2105"/>
                    </a:lnTo>
                    <a:lnTo>
                      <a:pt x="133" y="2175"/>
                    </a:lnTo>
                    <a:lnTo>
                      <a:pt x="163" y="2244"/>
                    </a:lnTo>
                    <a:lnTo>
                      <a:pt x="195" y="2309"/>
                    </a:lnTo>
                    <a:lnTo>
                      <a:pt x="232" y="2375"/>
                    </a:lnTo>
                    <a:lnTo>
                      <a:pt x="268" y="2439"/>
                    </a:lnTo>
                    <a:lnTo>
                      <a:pt x="309" y="2500"/>
                    </a:lnTo>
                    <a:lnTo>
                      <a:pt x="352" y="2561"/>
                    </a:lnTo>
                    <a:lnTo>
                      <a:pt x="398" y="2619"/>
                    </a:lnTo>
                    <a:lnTo>
                      <a:pt x="445" y="2675"/>
                    </a:lnTo>
                    <a:lnTo>
                      <a:pt x="495" y="2728"/>
                    </a:lnTo>
                    <a:lnTo>
                      <a:pt x="549" y="2780"/>
                    </a:lnTo>
                    <a:lnTo>
                      <a:pt x="602" y="2830"/>
                    </a:lnTo>
                    <a:lnTo>
                      <a:pt x="658" y="2877"/>
                    </a:lnTo>
                    <a:lnTo>
                      <a:pt x="716" y="2923"/>
                    </a:lnTo>
                    <a:lnTo>
                      <a:pt x="777" y="2966"/>
                    </a:lnTo>
                    <a:lnTo>
                      <a:pt x="840" y="3005"/>
                    </a:lnTo>
                    <a:lnTo>
                      <a:pt x="902" y="3043"/>
                    </a:lnTo>
                    <a:lnTo>
                      <a:pt x="968" y="3078"/>
                    </a:lnTo>
                    <a:lnTo>
                      <a:pt x="1035" y="3110"/>
                    </a:lnTo>
                    <a:lnTo>
                      <a:pt x="1103" y="3139"/>
                    </a:lnTo>
                    <a:lnTo>
                      <a:pt x="1173" y="3167"/>
                    </a:lnTo>
                    <a:lnTo>
                      <a:pt x="1245" y="3190"/>
                    </a:lnTo>
                    <a:lnTo>
                      <a:pt x="1318" y="3211"/>
                    </a:lnTo>
                    <a:lnTo>
                      <a:pt x="1393" y="3228"/>
                    </a:lnTo>
                    <a:close/>
                    <a:moveTo>
                      <a:pt x="1429" y="752"/>
                    </a:moveTo>
                    <a:lnTo>
                      <a:pt x="1440" y="752"/>
                    </a:lnTo>
                    <a:lnTo>
                      <a:pt x="1451" y="753"/>
                    </a:lnTo>
                    <a:lnTo>
                      <a:pt x="1463" y="755"/>
                    </a:lnTo>
                    <a:lnTo>
                      <a:pt x="1473" y="756"/>
                    </a:lnTo>
                    <a:lnTo>
                      <a:pt x="1484" y="759"/>
                    </a:lnTo>
                    <a:lnTo>
                      <a:pt x="1495" y="762"/>
                    </a:lnTo>
                    <a:lnTo>
                      <a:pt x="1504" y="766"/>
                    </a:lnTo>
                    <a:lnTo>
                      <a:pt x="1515" y="770"/>
                    </a:lnTo>
                    <a:lnTo>
                      <a:pt x="1524" y="773"/>
                    </a:lnTo>
                    <a:lnTo>
                      <a:pt x="1534" y="779"/>
                    </a:lnTo>
                    <a:lnTo>
                      <a:pt x="1543" y="784"/>
                    </a:lnTo>
                    <a:lnTo>
                      <a:pt x="1551" y="790"/>
                    </a:lnTo>
                    <a:lnTo>
                      <a:pt x="1560" y="796"/>
                    </a:lnTo>
                    <a:lnTo>
                      <a:pt x="1569" y="802"/>
                    </a:lnTo>
                    <a:lnTo>
                      <a:pt x="1577" y="810"/>
                    </a:lnTo>
                    <a:lnTo>
                      <a:pt x="1585" y="816"/>
                    </a:lnTo>
                    <a:lnTo>
                      <a:pt x="1592" y="825"/>
                    </a:lnTo>
                    <a:lnTo>
                      <a:pt x="1598" y="833"/>
                    </a:lnTo>
                    <a:lnTo>
                      <a:pt x="1606" y="840"/>
                    </a:lnTo>
                    <a:lnTo>
                      <a:pt x="1612" y="849"/>
                    </a:lnTo>
                    <a:lnTo>
                      <a:pt x="1617" y="858"/>
                    </a:lnTo>
                    <a:lnTo>
                      <a:pt x="1623" y="868"/>
                    </a:lnTo>
                    <a:lnTo>
                      <a:pt x="1627" y="877"/>
                    </a:lnTo>
                    <a:lnTo>
                      <a:pt x="1632" y="886"/>
                    </a:lnTo>
                    <a:lnTo>
                      <a:pt x="1636" y="896"/>
                    </a:lnTo>
                    <a:lnTo>
                      <a:pt x="1639" y="907"/>
                    </a:lnTo>
                    <a:lnTo>
                      <a:pt x="1642" y="918"/>
                    </a:lnTo>
                    <a:lnTo>
                      <a:pt x="1644" y="928"/>
                    </a:lnTo>
                    <a:lnTo>
                      <a:pt x="1647" y="939"/>
                    </a:lnTo>
                    <a:lnTo>
                      <a:pt x="1649" y="950"/>
                    </a:lnTo>
                    <a:lnTo>
                      <a:pt x="1649" y="960"/>
                    </a:lnTo>
                    <a:lnTo>
                      <a:pt x="1649" y="973"/>
                    </a:lnTo>
                    <a:lnTo>
                      <a:pt x="1649" y="983"/>
                    </a:lnTo>
                    <a:lnTo>
                      <a:pt x="1649" y="995"/>
                    </a:lnTo>
                    <a:lnTo>
                      <a:pt x="1647" y="1006"/>
                    </a:lnTo>
                    <a:lnTo>
                      <a:pt x="1644" y="1017"/>
                    </a:lnTo>
                    <a:lnTo>
                      <a:pt x="1642" y="1027"/>
                    </a:lnTo>
                    <a:lnTo>
                      <a:pt x="1639" y="1038"/>
                    </a:lnTo>
                    <a:lnTo>
                      <a:pt x="1636" y="1049"/>
                    </a:lnTo>
                    <a:lnTo>
                      <a:pt x="1632" y="1058"/>
                    </a:lnTo>
                    <a:lnTo>
                      <a:pt x="1627" y="1069"/>
                    </a:lnTo>
                    <a:lnTo>
                      <a:pt x="1623" y="1078"/>
                    </a:lnTo>
                    <a:lnTo>
                      <a:pt x="1617" y="1087"/>
                    </a:lnTo>
                    <a:lnTo>
                      <a:pt x="1612" y="1096"/>
                    </a:lnTo>
                    <a:lnTo>
                      <a:pt x="1606" y="1105"/>
                    </a:lnTo>
                    <a:lnTo>
                      <a:pt x="1598" y="1113"/>
                    </a:lnTo>
                    <a:lnTo>
                      <a:pt x="1592" y="1120"/>
                    </a:lnTo>
                    <a:lnTo>
                      <a:pt x="1585" y="1128"/>
                    </a:lnTo>
                    <a:lnTo>
                      <a:pt x="1577" y="1136"/>
                    </a:lnTo>
                    <a:lnTo>
                      <a:pt x="1569" y="1143"/>
                    </a:lnTo>
                    <a:lnTo>
                      <a:pt x="1560" y="1149"/>
                    </a:lnTo>
                    <a:lnTo>
                      <a:pt x="1551" y="1155"/>
                    </a:lnTo>
                    <a:lnTo>
                      <a:pt x="1543" y="1161"/>
                    </a:lnTo>
                    <a:lnTo>
                      <a:pt x="1534" y="1166"/>
                    </a:lnTo>
                    <a:lnTo>
                      <a:pt x="1524" y="1171"/>
                    </a:lnTo>
                    <a:lnTo>
                      <a:pt x="1515" y="1175"/>
                    </a:lnTo>
                    <a:lnTo>
                      <a:pt x="1504" y="1180"/>
                    </a:lnTo>
                    <a:lnTo>
                      <a:pt x="1495" y="1183"/>
                    </a:lnTo>
                    <a:lnTo>
                      <a:pt x="1484" y="1186"/>
                    </a:lnTo>
                    <a:lnTo>
                      <a:pt x="1473" y="1189"/>
                    </a:lnTo>
                    <a:lnTo>
                      <a:pt x="1463" y="1190"/>
                    </a:lnTo>
                    <a:lnTo>
                      <a:pt x="1451" y="1192"/>
                    </a:lnTo>
                    <a:lnTo>
                      <a:pt x="1440" y="1193"/>
                    </a:lnTo>
                    <a:lnTo>
                      <a:pt x="1429" y="1193"/>
                    </a:lnTo>
                    <a:lnTo>
                      <a:pt x="1417" y="1193"/>
                    </a:lnTo>
                    <a:lnTo>
                      <a:pt x="1406" y="1192"/>
                    </a:lnTo>
                    <a:lnTo>
                      <a:pt x="1394" y="1190"/>
                    </a:lnTo>
                    <a:lnTo>
                      <a:pt x="1383" y="1189"/>
                    </a:lnTo>
                    <a:lnTo>
                      <a:pt x="1373" y="1186"/>
                    </a:lnTo>
                    <a:lnTo>
                      <a:pt x="1362" y="1183"/>
                    </a:lnTo>
                    <a:lnTo>
                      <a:pt x="1353" y="1180"/>
                    </a:lnTo>
                    <a:lnTo>
                      <a:pt x="1342" y="1175"/>
                    </a:lnTo>
                    <a:lnTo>
                      <a:pt x="1333" y="1171"/>
                    </a:lnTo>
                    <a:lnTo>
                      <a:pt x="1323" y="1166"/>
                    </a:lnTo>
                    <a:lnTo>
                      <a:pt x="1313" y="1161"/>
                    </a:lnTo>
                    <a:lnTo>
                      <a:pt x="1304" y="1155"/>
                    </a:lnTo>
                    <a:lnTo>
                      <a:pt x="1297" y="1149"/>
                    </a:lnTo>
                    <a:lnTo>
                      <a:pt x="1287" y="1143"/>
                    </a:lnTo>
                    <a:lnTo>
                      <a:pt x="1280" y="1136"/>
                    </a:lnTo>
                    <a:lnTo>
                      <a:pt x="1272" y="1128"/>
                    </a:lnTo>
                    <a:lnTo>
                      <a:pt x="1265" y="1120"/>
                    </a:lnTo>
                    <a:lnTo>
                      <a:pt x="1259" y="1113"/>
                    </a:lnTo>
                    <a:lnTo>
                      <a:pt x="1251" y="1105"/>
                    </a:lnTo>
                    <a:lnTo>
                      <a:pt x="1245" y="1096"/>
                    </a:lnTo>
                    <a:lnTo>
                      <a:pt x="1240" y="1087"/>
                    </a:lnTo>
                    <a:lnTo>
                      <a:pt x="1234" y="1078"/>
                    </a:lnTo>
                    <a:lnTo>
                      <a:pt x="1230" y="1069"/>
                    </a:lnTo>
                    <a:lnTo>
                      <a:pt x="1225" y="1058"/>
                    </a:lnTo>
                    <a:lnTo>
                      <a:pt x="1220" y="1049"/>
                    </a:lnTo>
                    <a:lnTo>
                      <a:pt x="1217" y="1038"/>
                    </a:lnTo>
                    <a:lnTo>
                      <a:pt x="1214" y="1027"/>
                    </a:lnTo>
                    <a:lnTo>
                      <a:pt x="1213" y="1017"/>
                    </a:lnTo>
                    <a:lnTo>
                      <a:pt x="1210" y="1006"/>
                    </a:lnTo>
                    <a:lnTo>
                      <a:pt x="1208" y="995"/>
                    </a:lnTo>
                    <a:lnTo>
                      <a:pt x="1208" y="983"/>
                    </a:lnTo>
                    <a:lnTo>
                      <a:pt x="1208" y="973"/>
                    </a:lnTo>
                    <a:lnTo>
                      <a:pt x="1208" y="960"/>
                    </a:lnTo>
                    <a:lnTo>
                      <a:pt x="1208" y="950"/>
                    </a:lnTo>
                    <a:lnTo>
                      <a:pt x="1210" y="939"/>
                    </a:lnTo>
                    <a:lnTo>
                      <a:pt x="1213" y="928"/>
                    </a:lnTo>
                    <a:lnTo>
                      <a:pt x="1214" y="918"/>
                    </a:lnTo>
                    <a:lnTo>
                      <a:pt x="1217" y="907"/>
                    </a:lnTo>
                    <a:lnTo>
                      <a:pt x="1220" y="896"/>
                    </a:lnTo>
                    <a:lnTo>
                      <a:pt x="1225" y="886"/>
                    </a:lnTo>
                    <a:lnTo>
                      <a:pt x="1230" y="877"/>
                    </a:lnTo>
                    <a:lnTo>
                      <a:pt x="1234" y="868"/>
                    </a:lnTo>
                    <a:lnTo>
                      <a:pt x="1240" y="858"/>
                    </a:lnTo>
                    <a:lnTo>
                      <a:pt x="1245" y="849"/>
                    </a:lnTo>
                    <a:lnTo>
                      <a:pt x="1251" y="840"/>
                    </a:lnTo>
                    <a:lnTo>
                      <a:pt x="1259" y="833"/>
                    </a:lnTo>
                    <a:lnTo>
                      <a:pt x="1265" y="825"/>
                    </a:lnTo>
                    <a:lnTo>
                      <a:pt x="1272" y="816"/>
                    </a:lnTo>
                    <a:lnTo>
                      <a:pt x="1280" y="810"/>
                    </a:lnTo>
                    <a:lnTo>
                      <a:pt x="1287" y="802"/>
                    </a:lnTo>
                    <a:lnTo>
                      <a:pt x="1297" y="796"/>
                    </a:lnTo>
                    <a:lnTo>
                      <a:pt x="1304" y="790"/>
                    </a:lnTo>
                    <a:lnTo>
                      <a:pt x="1313" y="784"/>
                    </a:lnTo>
                    <a:lnTo>
                      <a:pt x="1323" y="779"/>
                    </a:lnTo>
                    <a:lnTo>
                      <a:pt x="1333" y="773"/>
                    </a:lnTo>
                    <a:lnTo>
                      <a:pt x="1342" y="770"/>
                    </a:lnTo>
                    <a:lnTo>
                      <a:pt x="1353" y="766"/>
                    </a:lnTo>
                    <a:lnTo>
                      <a:pt x="1362" y="762"/>
                    </a:lnTo>
                    <a:lnTo>
                      <a:pt x="1373" y="759"/>
                    </a:lnTo>
                    <a:lnTo>
                      <a:pt x="1383" y="756"/>
                    </a:lnTo>
                    <a:lnTo>
                      <a:pt x="1394" y="755"/>
                    </a:lnTo>
                    <a:lnTo>
                      <a:pt x="1406" y="753"/>
                    </a:lnTo>
                    <a:lnTo>
                      <a:pt x="1417" y="752"/>
                    </a:lnTo>
                    <a:lnTo>
                      <a:pt x="1429" y="752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2962">
                  <a:defRPr/>
                </a:pPr>
                <a:endParaRPr lang="ru-RU" sz="1837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grpSp>
        <p:nvGrpSpPr>
          <p:cNvPr id="3" name="Group 2" hidden="1"/>
          <p:cNvGrpSpPr>
            <a:grpSpLocks/>
          </p:cNvGrpSpPr>
          <p:nvPr userDrawn="1"/>
        </p:nvGrpSpPr>
        <p:grpSpPr>
          <a:xfrm>
            <a:off x="6844796" y="4345242"/>
            <a:ext cx="5064681" cy="501859"/>
            <a:chOff x="2640013" y="4926935"/>
            <a:chExt cx="4935538" cy="491868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4926935"/>
              <a:ext cx="4935538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defTabSz="932962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28" dirty="0" smtClean="0">
                  <a:solidFill>
                    <a:srgbClr val="FFFFFF"/>
                  </a:solidFill>
                </a:rPr>
                <a:t>Тип документа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defTabSz="932962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28" dirty="0" smtClean="0">
                  <a:solidFill>
                    <a:srgbClr val="FFFFFF"/>
                  </a:solidFill>
                </a:rPr>
                <a:t>Дата</a:t>
              </a:r>
            </a:p>
          </p:txBody>
        </p:sp>
      </p:grp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1218768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149071" y="1476599"/>
            <a:ext cx="8760406" cy="502445"/>
          </a:xfrm>
          <a:prstGeom prst="rect">
            <a:avLst/>
          </a:prstGeom>
        </p:spPr>
        <p:txBody>
          <a:bodyPr>
            <a:spAutoFit/>
          </a:bodyPr>
          <a:lstStyle>
            <a:lvl1pPr algn="r">
              <a:defRPr sz="326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4" name="Working Draft Text" hidden="1"/>
          <p:cNvSpPr txBox="1"/>
          <p:nvPr userDrawn="1"/>
        </p:nvSpPr>
        <p:spPr>
          <a:xfrm>
            <a:off x="8034409" y="6349400"/>
            <a:ext cx="1085554" cy="21788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816" b="1" smtClean="0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5" name="Working Draft" hidden="1"/>
          <p:cNvSpPr txBox="1"/>
          <p:nvPr userDrawn="1"/>
        </p:nvSpPr>
        <p:spPr>
          <a:xfrm>
            <a:off x="8034409" y="6478979"/>
            <a:ext cx="2948243" cy="21788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816" smtClean="0">
                <a:solidFill>
                  <a:srgbClr val="FFFFFF"/>
                </a:solidFill>
              </a:rPr>
              <a:t>Last Modified 03.04.2017 19:21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/>
          <p:cNvSpPr txBox="1"/>
          <p:nvPr userDrawn="1"/>
        </p:nvSpPr>
        <p:spPr>
          <a:xfrm>
            <a:off x="8034409" y="6608559"/>
            <a:ext cx="2659702" cy="21788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816" smtClean="0">
                <a:solidFill>
                  <a:srgbClr val="FFFFFF"/>
                </a:solidFill>
              </a:rPr>
              <a:t>Printed 23.12.2016 14:34 Russia TZ 2 Standard Time</a:t>
            </a:r>
            <a:endParaRPr lang="ru-RU" sz="816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4310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61986" y="432205"/>
            <a:ext cx="11017073" cy="29832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626136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1547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">
    <p:bg>
      <p:bgPr>
        <a:solidFill>
          <a:srgbClr val="00985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15131" y="553002"/>
            <a:ext cx="8329846" cy="708731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15131" y="1333507"/>
            <a:ext cx="7443692" cy="2808743"/>
          </a:xfrm>
        </p:spPr>
        <p:txBody>
          <a:bodyPr lIns="0" rIns="0">
            <a:normAutofit/>
          </a:bodyPr>
          <a:lstStyle>
            <a:lvl1pPr marL="457200" indent="-457200" algn="l">
              <a:buClr>
                <a:schemeClr val="bg1"/>
              </a:buClr>
              <a:buFont typeface="+mj-lt"/>
              <a:buAutoNum type="arabicPeriod"/>
              <a:defRPr sz="2000">
                <a:solidFill>
                  <a:schemeClr val="bg1"/>
                </a:solidFill>
              </a:defRPr>
            </a:lvl1pPr>
            <a:lvl2pPr marL="536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10211192" y="6387198"/>
            <a:ext cx="1583997" cy="210459"/>
            <a:chOff x="10211192" y="6387198"/>
            <a:chExt cx="1583997" cy="210459"/>
          </a:xfrm>
        </p:grpSpPr>
        <p:sp>
          <p:nvSpPr>
            <p:cNvPr id="23" name="Freeform 6"/>
            <p:cNvSpPr>
              <a:spLocks/>
            </p:cNvSpPr>
            <p:nvPr/>
          </p:nvSpPr>
          <p:spPr bwMode="auto">
            <a:xfrm>
              <a:off x="11611312" y="6418213"/>
              <a:ext cx="183877" cy="177229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26" name="Freeform 7"/>
            <p:cNvSpPr>
              <a:spLocks noEditPoints="1"/>
            </p:cNvSpPr>
            <p:nvPr/>
          </p:nvSpPr>
          <p:spPr bwMode="auto">
            <a:xfrm>
              <a:off x="10849222" y="6415998"/>
              <a:ext cx="221538" cy="179444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35" name="Freeform 8"/>
            <p:cNvSpPr>
              <a:spLocks/>
            </p:cNvSpPr>
            <p:nvPr/>
          </p:nvSpPr>
          <p:spPr bwMode="auto">
            <a:xfrm>
              <a:off x="10211192" y="6387198"/>
              <a:ext cx="287999" cy="210459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36" name="Freeform 9"/>
            <p:cNvSpPr>
              <a:spLocks/>
            </p:cNvSpPr>
            <p:nvPr/>
          </p:nvSpPr>
          <p:spPr bwMode="auto">
            <a:xfrm>
              <a:off x="10530207" y="6418213"/>
              <a:ext cx="159507" cy="177229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37" name="Freeform 10"/>
            <p:cNvSpPr>
              <a:spLocks/>
            </p:cNvSpPr>
            <p:nvPr/>
          </p:nvSpPr>
          <p:spPr bwMode="auto">
            <a:xfrm>
              <a:off x="10720730" y="6418213"/>
              <a:ext cx="161723" cy="177229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38" name="Freeform 11"/>
            <p:cNvSpPr>
              <a:spLocks noEditPoints="1"/>
            </p:cNvSpPr>
            <p:nvPr/>
          </p:nvSpPr>
          <p:spPr bwMode="auto">
            <a:xfrm>
              <a:off x="11374267" y="6415998"/>
              <a:ext cx="208246" cy="181659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39" name="Freeform 12"/>
            <p:cNvSpPr>
              <a:spLocks noEditPoints="1"/>
            </p:cNvSpPr>
            <p:nvPr/>
          </p:nvSpPr>
          <p:spPr bwMode="auto">
            <a:xfrm>
              <a:off x="11066329" y="6391629"/>
              <a:ext cx="276922" cy="203813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</p:grpSp>
    </p:spTree>
    <p:extLst>
      <p:ext uri="{BB962C8B-B14F-4D97-AF65-F5344CB8AC3E}">
        <p14:creationId xmlns:p14="http://schemas.microsoft.com/office/powerpoint/2010/main" val="393958031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">
    <p:bg>
      <p:bgPr>
        <a:solidFill>
          <a:srgbClr val="00985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15131" y="1487423"/>
            <a:ext cx="8329846" cy="1513575"/>
          </a:xfrm>
        </p:spPr>
        <p:txBody>
          <a:bodyPr/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15134" y="3422243"/>
            <a:ext cx="7443692" cy="720000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536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grpSp>
        <p:nvGrpSpPr>
          <p:cNvPr id="17" name="Группа 16"/>
          <p:cNvGrpSpPr/>
          <p:nvPr userDrawn="1"/>
        </p:nvGrpSpPr>
        <p:grpSpPr>
          <a:xfrm>
            <a:off x="10211192" y="6387198"/>
            <a:ext cx="1583997" cy="210459"/>
            <a:chOff x="10211192" y="6387198"/>
            <a:chExt cx="1583997" cy="210459"/>
          </a:xfrm>
        </p:grpSpPr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11611312" y="6418213"/>
              <a:ext cx="183877" cy="177229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9" name="Freeform 7"/>
            <p:cNvSpPr>
              <a:spLocks noEditPoints="1"/>
            </p:cNvSpPr>
            <p:nvPr/>
          </p:nvSpPr>
          <p:spPr bwMode="auto">
            <a:xfrm>
              <a:off x="10849222" y="6415998"/>
              <a:ext cx="221538" cy="179444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20" name="Freeform 8"/>
            <p:cNvSpPr>
              <a:spLocks/>
            </p:cNvSpPr>
            <p:nvPr/>
          </p:nvSpPr>
          <p:spPr bwMode="auto">
            <a:xfrm>
              <a:off x="10211192" y="6387198"/>
              <a:ext cx="287999" cy="210459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auto">
            <a:xfrm>
              <a:off x="10530207" y="6418213"/>
              <a:ext cx="159507" cy="177229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22" name="Freeform 10"/>
            <p:cNvSpPr>
              <a:spLocks/>
            </p:cNvSpPr>
            <p:nvPr/>
          </p:nvSpPr>
          <p:spPr bwMode="auto">
            <a:xfrm>
              <a:off x="10720730" y="6418213"/>
              <a:ext cx="161723" cy="177229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25" name="Freeform 11"/>
            <p:cNvSpPr>
              <a:spLocks noEditPoints="1"/>
            </p:cNvSpPr>
            <p:nvPr/>
          </p:nvSpPr>
          <p:spPr bwMode="auto">
            <a:xfrm>
              <a:off x="11374267" y="6415998"/>
              <a:ext cx="208246" cy="181659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26" name="Freeform 12"/>
            <p:cNvSpPr>
              <a:spLocks noEditPoints="1"/>
            </p:cNvSpPr>
            <p:nvPr/>
          </p:nvSpPr>
          <p:spPr bwMode="auto">
            <a:xfrm>
              <a:off x="11066329" y="6391629"/>
              <a:ext cx="276922" cy="203813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</p:grpSp>
    </p:spTree>
    <p:extLst>
      <p:ext uri="{BB962C8B-B14F-4D97-AF65-F5344CB8AC3E}">
        <p14:creationId xmlns:p14="http://schemas.microsoft.com/office/powerpoint/2010/main" val="24271466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6"/>
          <p:cNvSpPr>
            <a:spLocks noGrp="1"/>
          </p:cNvSpPr>
          <p:nvPr>
            <p:ph type="title"/>
          </p:nvPr>
        </p:nvSpPr>
        <p:spPr>
          <a:xfrm>
            <a:off x="414400" y="-1"/>
            <a:ext cx="10500923" cy="7920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1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-101778" y="6396271"/>
            <a:ext cx="481488" cy="229956"/>
          </a:xfrm>
        </p:spPr>
        <p:txBody>
          <a:bodyPr/>
          <a:lstStyle/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94371" y="6350005"/>
            <a:ext cx="9026726" cy="33669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rgbClr val="A6A6A6"/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290852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94371" y="6350005"/>
            <a:ext cx="9026726" cy="33669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rgbClr val="A6A6A6"/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025362" y="6507687"/>
            <a:ext cx="1125417" cy="914400"/>
          </a:xfrm>
          <a:prstGeom prst="rect">
            <a:avLst/>
          </a:prstGeom>
        </p:spPr>
        <p:txBody>
          <a:bodyPr vert="horz" wrap="none" lIns="107287" tIns="53643" rIns="107287" bIns="53643" rtlCol="0">
            <a:normAutofit/>
          </a:bodyPr>
          <a:lstStyle/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endParaRPr lang="en-US" sz="1400" dirty="0" smtClean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C0C2C4"/>
                </a:solidFill>
              </a:defRPr>
            </a:lvl1pPr>
          </a:lstStyle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402677" y="1005147"/>
            <a:ext cx="11386833" cy="529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3840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2674" y="1005147"/>
            <a:ext cx="5538462" cy="529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2769" y="1005147"/>
            <a:ext cx="5538462" cy="529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94371" y="6350005"/>
            <a:ext cx="9026726" cy="33669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rgbClr val="A6A6A6"/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13854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х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14399" y="1012369"/>
            <a:ext cx="5538462" cy="612000"/>
          </a:xfrm>
          <a:effectLst>
            <a:outerShdw dist="25400" dir="5400000" sx="99000" sy="99000" algn="ctr" rotWithShape="0">
              <a:srgbClr val="00985F"/>
            </a:outerShdw>
          </a:effectLst>
        </p:spPr>
        <p:txBody>
          <a:bodyPr anchor="b">
            <a:normAutofit/>
          </a:bodyPr>
          <a:lstStyle>
            <a:lvl1pPr marL="0" indent="0">
              <a:buNone/>
              <a:defRPr sz="1400" b="0"/>
            </a:lvl1pPr>
            <a:lvl2pPr marL="457212" indent="0">
              <a:buNone/>
              <a:defRPr sz="2000" b="1"/>
            </a:lvl2pPr>
            <a:lvl3pPr marL="914423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14399" y="1722487"/>
            <a:ext cx="5538462" cy="457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239248" y="1012369"/>
            <a:ext cx="5538462" cy="612000"/>
          </a:xfrm>
        </p:spPr>
        <p:txBody>
          <a:bodyPr anchor="b">
            <a:normAutofit/>
          </a:bodyPr>
          <a:lstStyle>
            <a:lvl1pPr marL="0" indent="0">
              <a:buNone/>
              <a:defRPr sz="1400" b="0"/>
            </a:lvl1pPr>
            <a:lvl2pPr marL="457212" indent="0">
              <a:buNone/>
              <a:defRPr sz="2000" b="1"/>
            </a:lvl2pPr>
            <a:lvl3pPr marL="914423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239248" y="1722487"/>
            <a:ext cx="5538462" cy="457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94371" y="6350005"/>
            <a:ext cx="9026726" cy="33669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rgbClr val="A6A6A6"/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395512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94371" y="6350005"/>
            <a:ext cx="9026726" cy="336699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chemeClr val="bg1">
                    <a:lumMod val="65000"/>
                  </a:schemeClr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402675" y="1005147"/>
            <a:ext cx="3677538" cy="529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4"/>
          </p:nvPr>
        </p:nvSpPr>
        <p:spPr>
          <a:xfrm>
            <a:off x="4251752" y="1008323"/>
            <a:ext cx="3677538" cy="529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5"/>
          </p:nvPr>
        </p:nvSpPr>
        <p:spPr>
          <a:xfrm>
            <a:off x="8100829" y="1008323"/>
            <a:ext cx="3677538" cy="529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78900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8410095-B849-2344-A88F-91458CD4B8F1}" type="datetimeFigureOut">
              <a:rPr lang="ru-RU" smtClean="0"/>
              <a:t>23.05.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67203B-2130-6643-A026-149BD8AEB7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738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theme" Target="../theme/theme1.xml"/><Relationship Id="rId11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2.bin"/><Relationship Id="rId12" Type="http://schemas.openxmlformats.org/officeDocument/2006/relationships/image" Target="../media/image3.emf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theme" Target="../theme/theme2.xml"/><Relationship Id="rId4" Type="http://schemas.openxmlformats.org/officeDocument/2006/relationships/vmlDrawing" Target="../drawings/vmlDrawing2.vml"/><Relationship Id="rId5" Type="http://schemas.openxmlformats.org/officeDocument/2006/relationships/tags" Target="../tags/tag3.xml"/><Relationship Id="rId6" Type="http://schemas.openxmlformats.org/officeDocument/2006/relationships/tags" Target="../tags/tag4.xml"/><Relationship Id="rId7" Type="http://schemas.openxmlformats.org/officeDocument/2006/relationships/tags" Target="../tags/tag5.xml"/><Relationship Id="rId8" Type="http://schemas.openxmlformats.org/officeDocument/2006/relationships/tags" Target="../tags/tag6.xml"/><Relationship Id="rId9" Type="http://schemas.openxmlformats.org/officeDocument/2006/relationships/tags" Target="../tags/tag7.xml"/><Relationship Id="rId10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 userDrawn="1">
            <p:ph type="title"/>
          </p:nvPr>
        </p:nvSpPr>
        <p:spPr>
          <a:xfrm>
            <a:off x="414400" y="-1"/>
            <a:ext cx="10500923" cy="79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</a:t>
            </a:r>
            <a:r>
              <a:rPr lang="en-US" dirty="0" smtClean="0"/>
              <a:t> </a:t>
            </a: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02464" y="997527"/>
            <a:ext cx="11387077" cy="5292000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-101778" y="6396271"/>
            <a:ext cx="481488" cy="229956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>
                <a:solidFill>
                  <a:schemeClr val="accent3"/>
                </a:solidFill>
              </a:defRPr>
            </a:lvl1pPr>
          </a:lstStyle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pic>
        <p:nvPicPr>
          <p:cNvPr id="26" name="Picture 5" descr="C:\Users\EAMEJIA\Desktop\Duckson\PNG Elements\controls.png">
            <a:hlinkClick r:id="" action="ppaction://hlinkshowjump?jump=nextslide"/>
          </p:cNvPr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97063" y="6426334"/>
            <a:ext cx="85310" cy="171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16"/>
          <p:cNvGrpSpPr>
            <a:grpSpLocks noChangeAspect="1"/>
          </p:cNvGrpSpPr>
          <p:nvPr userDrawn="1"/>
        </p:nvGrpSpPr>
        <p:grpSpPr>
          <a:xfrm>
            <a:off x="11363104" y="190459"/>
            <a:ext cx="432085" cy="433584"/>
            <a:chOff x="5176838" y="2511426"/>
            <a:chExt cx="1830388" cy="1836737"/>
          </a:xfrm>
          <a:solidFill>
            <a:srgbClr val="00985F"/>
          </a:solidFill>
        </p:grpSpPr>
        <p:sp>
          <p:nvSpPr>
            <p:cNvPr id="23" name="Freeform 6"/>
            <p:cNvSpPr>
              <a:spLocks noEditPoints="1"/>
            </p:cNvSpPr>
            <p:nvPr/>
          </p:nvSpPr>
          <p:spPr bwMode="auto">
            <a:xfrm>
              <a:off x="6008688" y="2519363"/>
              <a:ext cx="998538" cy="1828800"/>
            </a:xfrm>
            <a:custGeom>
              <a:avLst/>
              <a:gdLst>
                <a:gd name="T0" fmla="*/ 373 w 1888"/>
                <a:gd name="T1" fmla="*/ 1790 h 3457"/>
                <a:gd name="T2" fmla="*/ 372 w 1888"/>
                <a:gd name="T3" fmla="*/ 1790 h 3457"/>
                <a:gd name="T4" fmla="*/ 372 w 1888"/>
                <a:gd name="T5" fmla="*/ 1790 h 3457"/>
                <a:gd name="T6" fmla="*/ 372 w 1888"/>
                <a:gd name="T7" fmla="*/ 1790 h 3457"/>
                <a:gd name="T8" fmla="*/ 283 w 1888"/>
                <a:gd name="T9" fmla="*/ 1921 h 3457"/>
                <a:gd name="T10" fmla="*/ 15 w 1888"/>
                <a:gd name="T11" fmla="*/ 1931 h 3457"/>
                <a:gd name="T12" fmla="*/ 0 w 1888"/>
                <a:gd name="T13" fmla="*/ 1950 h 3457"/>
                <a:gd name="T14" fmla="*/ 336 w 1888"/>
                <a:gd name="T15" fmla="*/ 3447 h 3457"/>
                <a:gd name="T16" fmla="*/ 633 w 1888"/>
                <a:gd name="T17" fmla="*/ 3391 h 3457"/>
                <a:gd name="T18" fmla="*/ 910 w 1888"/>
                <a:gd name="T19" fmla="*/ 3286 h 3457"/>
                <a:gd name="T20" fmla="*/ 1161 w 1888"/>
                <a:gd name="T21" fmla="*/ 3137 h 3457"/>
                <a:gd name="T22" fmla="*/ 1382 w 1888"/>
                <a:gd name="T23" fmla="*/ 2949 h 3457"/>
                <a:gd name="T24" fmla="*/ 1570 w 1888"/>
                <a:gd name="T25" fmla="*/ 2726 h 3457"/>
                <a:gd name="T26" fmla="*/ 1719 w 1888"/>
                <a:gd name="T27" fmla="*/ 2474 h 3457"/>
                <a:gd name="T28" fmla="*/ 1822 w 1888"/>
                <a:gd name="T29" fmla="*/ 2197 h 3457"/>
                <a:gd name="T30" fmla="*/ 1880 w 1888"/>
                <a:gd name="T31" fmla="*/ 1900 h 3457"/>
                <a:gd name="T32" fmla="*/ 1884 w 1888"/>
                <a:gd name="T33" fmla="*/ 1599 h 3457"/>
                <a:gd name="T34" fmla="*/ 1842 w 1888"/>
                <a:gd name="T35" fmla="*/ 1320 h 3457"/>
                <a:gd name="T36" fmla="*/ 1758 w 1888"/>
                <a:gd name="T37" fmla="*/ 1058 h 3457"/>
                <a:gd name="T38" fmla="*/ 1635 w 1888"/>
                <a:gd name="T39" fmla="*/ 816 h 3457"/>
                <a:gd name="T40" fmla="*/ 1477 w 1888"/>
                <a:gd name="T41" fmla="*/ 598 h 3457"/>
                <a:gd name="T42" fmla="*/ 1287 w 1888"/>
                <a:gd name="T43" fmla="*/ 407 h 3457"/>
                <a:gd name="T44" fmla="*/ 1071 w 1888"/>
                <a:gd name="T45" fmla="*/ 247 h 3457"/>
                <a:gd name="T46" fmla="*/ 830 w 1888"/>
                <a:gd name="T47" fmla="*/ 122 h 3457"/>
                <a:gd name="T48" fmla="*/ 569 w 1888"/>
                <a:gd name="T49" fmla="*/ 36 h 3457"/>
                <a:gd name="T50" fmla="*/ 337 w 1888"/>
                <a:gd name="T51" fmla="*/ 2668 h 3457"/>
                <a:gd name="T52" fmla="*/ 209 w 1888"/>
                <a:gd name="T53" fmla="*/ 2625 h 3457"/>
                <a:gd name="T54" fmla="*/ 158 w 1888"/>
                <a:gd name="T55" fmla="*/ 2573 h 3457"/>
                <a:gd name="T56" fmla="*/ 123 w 1888"/>
                <a:gd name="T57" fmla="*/ 2429 h 3457"/>
                <a:gd name="T58" fmla="*/ 171 w 1888"/>
                <a:gd name="T59" fmla="*/ 2314 h 3457"/>
                <a:gd name="T60" fmla="*/ 234 w 1888"/>
                <a:gd name="T61" fmla="*/ 2260 h 3457"/>
                <a:gd name="T62" fmla="*/ 382 w 1888"/>
                <a:gd name="T63" fmla="*/ 2239 h 3457"/>
                <a:gd name="T64" fmla="*/ 484 w 1888"/>
                <a:gd name="T65" fmla="*/ 2291 h 3457"/>
                <a:gd name="T66" fmla="*/ 538 w 1888"/>
                <a:gd name="T67" fmla="*/ 2367 h 3457"/>
                <a:gd name="T68" fmla="*/ 545 w 1888"/>
                <a:gd name="T69" fmla="*/ 2516 h 3457"/>
                <a:gd name="T70" fmla="*/ 491 w 1888"/>
                <a:gd name="T71" fmla="*/ 2605 h 3457"/>
                <a:gd name="T72" fmla="*/ 402 w 1888"/>
                <a:gd name="T73" fmla="*/ 2658 h 3457"/>
                <a:gd name="T74" fmla="*/ 780 w 1888"/>
                <a:gd name="T75" fmla="*/ 2658 h 3457"/>
                <a:gd name="T76" fmla="*/ 692 w 1888"/>
                <a:gd name="T77" fmla="*/ 2605 h 3457"/>
                <a:gd name="T78" fmla="*/ 638 w 1888"/>
                <a:gd name="T79" fmla="*/ 2516 h 3457"/>
                <a:gd name="T80" fmla="*/ 646 w 1888"/>
                <a:gd name="T81" fmla="*/ 2367 h 3457"/>
                <a:gd name="T82" fmla="*/ 700 w 1888"/>
                <a:gd name="T83" fmla="*/ 2291 h 3457"/>
                <a:gd name="T84" fmla="*/ 802 w 1888"/>
                <a:gd name="T85" fmla="*/ 2239 h 3457"/>
                <a:gd name="T86" fmla="*/ 948 w 1888"/>
                <a:gd name="T87" fmla="*/ 2260 h 3457"/>
                <a:gd name="T88" fmla="*/ 1011 w 1888"/>
                <a:gd name="T89" fmla="*/ 2314 h 3457"/>
                <a:gd name="T90" fmla="*/ 1059 w 1888"/>
                <a:gd name="T91" fmla="*/ 2429 h 3457"/>
                <a:gd name="T92" fmla="*/ 1024 w 1888"/>
                <a:gd name="T93" fmla="*/ 2573 h 3457"/>
                <a:gd name="T94" fmla="*/ 973 w 1888"/>
                <a:gd name="T95" fmla="*/ 2625 h 3457"/>
                <a:gd name="T96" fmla="*/ 844 w 1888"/>
                <a:gd name="T97" fmla="*/ 2668 h 3457"/>
                <a:gd name="T98" fmla="*/ 1230 w 1888"/>
                <a:gd name="T99" fmla="*/ 2632 h 3457"/>
                <a:gd name="T100" fmla="*/ 1178 w 1888"/>
                <a:gd name="T101" fmla="*/ 2582 h 3457"/>
                <a:gd name="T102" fmla="*/ 1135 w 1888"/>
                <a:gd name="T103" fmla="*/ 2452 h 3457"/>
                <a:gd name="T104" fmla="*/ 1178 w 1888"/>
                <a:gd name="T105" fmla="*/ 2322 h 3457"/>
                <a:gd name="T106" fmla="*/ 1230 w 1888"/>
                <a:gd name="T107" fmla="*/ 2272 h 3457"/>
                <a:gd name="T108" fmla="*/ 1373 w 1888"/>
                <a:gd name="T109" fmla="*/ 2236 h 3457"/>
                <a:gd name="T110" fmla="*/ 1488 w 1888"/>
                <a:gd name="T111" fmla="*/ 2284 h 3457"/>
                <a:gd name="T112" fmla="*/ 1542 w 1888"/>
                <a:gd name="T113" fmla="*/ 2349 h 3457"/>
                <a:gd name="T114" fmla="*/ 1563 w 1888"/>
                <a:gd name="T115" fmla="*/ 2495 h 3457"/>
                <a:gd name="T116" fmla="*/ 1511 w 1888"/>
                <a:gd name="T117" fmla="*/ 2598 h 3457"/>
                <a:gd name="T118" fmla="*/ 1435 w 1888"/>
                <a:gd name="T119" fmla="*/ 2651 h 3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88" h="3457">
                  <a:moveTo>
                    <a:pt x="373" y="1790"/>
                  </a:move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0" y="1815"/>
                  </a:lnTo>
                  <a:lnTo>
                    <a:pt x="364" y="1838"/>
                  </a:lnTo>
                  <a:lnTo>
                    <a:pt x="353" y="1859"/>
                  </a:lnTo>
                  <a:lnTo>
                    <a:pt x="340" y="1878"/>
                  </a:lnTo>
                  <a:lnTo>
                    <a:pt x="323" y="1896"/>
                  </a:lnTo>
                  <a:lnTo>
                    <a:pt x="304" y="1910"/>
                  </a:lnTo>
                  <a:lnTo>
                    <a:pt x="283" y="1921"/>
                  </a:lnTo>
                  <a:lnTo>
                    <a:pt x="260" y="1927"/>
                  </a:lnTo>
                  <a:lnTo>
                    <a:pt x="241" y="1931"/>
                  </a:lnTo>
                  <a:lnTo>
                    <a:pt x="221" y="1931"/>
                  </a:lnTo>
                  <a:lnTo>
                    <a:pt x="202" y="1931"/>
                  </a:lnTo>
                  <a:lnTo>
                    <a:pt x="182" y="1931"/>
                  </a:lnTo>
                  <a:lnTo>
                    <a:pt x="19" y="1931"/>
                  </a:lnTo>
                  <a:lnTo>
                    <a:pt x="15" y="1931"/>
                  </a:lnTo>
                  <a:lnTo>
                    <a:pt x="12" y="1932"/>
                  </a:lnTo>
                  <a:lnTo>
                    <a:pt x="9" y="1934"/>
                  </a:lnTo>
                  <a:lnTo>
                    <a:pt x="5" y="1936"/>
                  </a:lnTo>
                  <a:lnTo>
                    <a:pt x="3" y="1939"/>
                  </a:lnTo>
                  <a:lnTo>
                    <a:pt x="1" y="1942"/>
                  </a:lnTo>
                  <a:lnTo>
                    <a:pt x="0" y="1945"/>
                  </a:lnTo>
                  <a:lnTo>
                    <a:pt x="0" y="1950"/>
                  </a:lnTo>
                  <a:lnTo>
                    <a:pt x="0" y="3449"/>
                  </a:lnTo>
                  <a:lnTo>
                    <a:pt x="80" y="3455"/>
                  </a:lnTo>
                  <a:lnTo>
                    <a:pt x="159" y="3457"/>
                  </a:lnTo>
                  <a:lnTo>
                    <a:pt x="205" y="3456"/>
                  </a:lnTo>
                  <a:lnTo>
                    <a:pt x="248" y="3455"/>
                  </a:lnTo>
                  <a:lnTo>
                    <a:pt x="293" y="3452"/>
                  </a:lnTo>
                  <a:lnTo>
                    <a:pt x="336" y="3447"/>
                  </a:lnTo>
                  <a:lnTo>
                    <a:pt x="380" y="3443"/>
                  </a:lnTo>
                  <a:lnTo>
                    <a:pt x="423" y="3437"/>
                  </a:lnTo>
                  <a:lnTo>
                    <a:pt x="465" y="3429"/>
                  </a:lnTo>
                  <a:lnTo>
                    <a:pt x="508" y="3422"/>
                  </a:lnTo>
                  <a:lnTo>
                    <a:pt x="550" y="3412"/>
                  </a:lnTo>
                  <a:lnTo>
                    <a:pt x="592" y="3403"/>
                  </a:lnTo>
                  <a:lnTo>
                    <a:pt x="633" y="3391"/>
                  </a:lnTo>
                  <a:lnTo>
                    <a:pt x="673" y="3379"/>
                  </a:lnTo>
                  <a:lnTo>
                    <a:pt x="715" y="3365"/>
                  </a:lnTo>
                  <a:lnTo>
                    <a:pt x="754" y="3352"/>
                  </a:lnTo>
                  <a:lnTo>
                    <a:pt x="794" y="3337"/>
                  </a:lnTo>
                  <a:lnTo>
                    <a:pt x="832" y="3321"/>
                  </a:lnTo>
                  <a:lnTo>
                    <a:pt x="872" y="3304"/>
                  </a:lnTo>
                  <a:lnTo>
                    <a:pt x="910" y="3286"/>
                  </a:lnTo>
                  <a:lnTo>
                    <a:pt x="947" y="3267"/>
                  </a:lnTo>
                  <a:lnTo>
                    <a:pt x="984" y="3247"/>
                  </a:lnTo>
                  <a:lnTo>
                    <a:pt x="1020" y="3227"/>
                  </a:lnTo>
                  <a:lnTo>
                    <a:pt x="1056" y="3206"/>
                  </a:lnTo>
                  <a:lnTo>
                    <a:pt x="1092" y="3184"/>
                  </a:lnTo>
                  <a:lnTo>
                    <a:pt x="1126" y="3160"/>
                  </a:lnTo>
                  <a:lnTo>
                    <a:pt x="1161" y="3137"/>
                  </a:lnTo>
                  <a:lnTo>
                    <a:pt x="1194" y="3112"/>
                  </a:lnTo>
                  <a:lnTo>
                    <a:pt x="1227" y="3087"/>
                  </a:lnTo>
                  <a:lnTo>
                    <a:pt x="1260" y="3060"/>
                  </a:lnTo>
                  <a:lnTo>
                    <a:pt x="1291" y="3034"/>
                  </a:lnTo>
                  <a:lnTo>
                    <a:pt x="1322" y="3006"/>
                  </a:lnTo>
                  <a:lnTo>
                    <a:pt x="1353" y="2977"/>
                  </a:lnTo>
                  <a:lnTo>
                    <a:pt x="1382" y="2949"/>
                  </a:lnTo>
                  <a:lnTo>
                    <a:pt x="1411" y="2919"/>
                  </a:lnTo>
                  <a:lnTo>
                    <a:pt x="1440" y="2889"/>
                  </a:lnTo>
                  <a:lnTo>
                    <a:pt x="1467" y="2857"/>
                  </a:lnTo>
                  <a:lnTo>
                    <a:pt x="1494" y="2825"/>
                  </a:lnTo>
                  <a:lnTo>
                    <a:pt x="1520" y="2793"/>
                  </a:lnTo>
                  <a:lnTo>
                    <a:pt x="1545" y="2760"/>
                  </a:lnTo>
                  <a:lnTo>
                    <a:pt x="1570" y="2726"/>
                  </a:lnTo>
                  <a:lnTo>
                    <a:pt x="1593" y="2692"/>
                  </a:lnTo>
                  <a:lnTo>
                    <a:pt x="1616" y="2657"/>
                  </a:lnTo>
                  <a:lnTo>
                    <a:pt x="1638" y="2622"/>
                  </a:lnTo>
                  <a:lnTo>
                    <a:pt x="1659" y="2586"/>
                  </a:lnTo>
                  <a:lnTo>
                    <a:pt x="1680" y="2549"/>
                  </a:lnTo>
                  <a:lnTo>
                    <a:pt x="1699" y="2511"/>
                  </a:lnTo>
                  <a:lnTo>
                    <a:pt x="1719" y="2474"/>
                  </a:lnTo>
                  <a:lnTo>
                    <a:pt x="1736" y="2436"/>
                  </a:lnTo>
                  <a:lnTo>
                    <a:pt x="1752" y="2398"/>
                  </a:lnTo>
                  <a:lnTo>
                    <a:pt x="1768" y="2358"/>
                  </a:lnTo>
                  <a:lnTo>
                    <a:pt x="1783" y="2319"/>
                  </a:lnTo>
                  <a:lnTo>
                    <a:pt x="1798" y="2278"/>
                  </a:lnTo>
                  <a:lnTo>
                    <a:pt x="1811" y="2238"/>
                  </a:lnTo>
                  <a:lnTo>
                    <a:pt x="1822" y="2197"/>
                  </a:lnTo>
                  <a:lnTo>
                    <a:pt x="1834" y="2155"/>
                  </a:lnTo>
                  <a:lnTo>
                    <a:pt x="1845" y="2114"/>
                  </a:lnTo>
                  <a:lnTo>
                    <a:pt x="1853" y="2072"/>
                  </a:lnTo>
                  <a:lnTo>
                    <a:pt x="1862" y="2030"/>
                  </a:lnTo>
                  <a:lnTo>
                    <a:pt x="1869" y="1986"/>
                  </a:lnTo>
                  <a:lnTo>
                    <a:pt x="1874" y="1943"/>
                  </a:lnTo>
                  <a:lnTo>
                    <a:pt x="1880" y="1900"/>
                  </a:lnTo>
                  <a:lnTo>
                    <a:pt x="1884" y="1855"/>
                  </a:lnTo>
                  <a:lnTo>
                    <a:pt x="1886" y="1811"/>
                  </a:lnTo>
                  <a:lnTo>
                    <a:pt x="1888" y="1767"/>
                  </a:lnTo>
                  <a:lnTo>
                    <a:pt x="1888" y="1722"/>
                  </a:lnTo>
                  <a:lnTo>
                    <a:pt x="1888" y="1681"/>
                  </a:lnTo>
                  <a:lnTo>
                    <a:pt x="1887" y="1639"/>
                  </a:lnTo>
                  <a:lnTo>
                    <a:pt x="1884" y="1599"/>
                  </a:lnTo>
                  <a:lnTo>
                    <a:pt x="1881" y="1558"/>
                  </a:lnTo>
                  <a:lnTo>
                    <a:pt x="1876" y="1518"/>
                  </a:lnTo>
                  <a:lnTo>
                    <a:pt x="1871" y="1477"/>
                  </a:lnTo>
                  <a:lnTo>
                    <a:pt x="1866" y="1438"/>
                  </a:lnTo>
                  <a:lnTo>
                    <a:pt x="1858" y="1398"/>
                  </a:lnTo>
                  <a:lnTo>
                    <a:pt x="1851" y="1359"/>
                  </a:lnTo>
                  <a:lnTo>
                    <a:pt x="1842" y="1320"/>
                  </a:lnTo>
                  <a:lnTo>
                    <a:pt x="1832" y="1282"/>
                  </a:lnTo>
                  <a:lnTo>
                    <a:pt x="1821" y="1243"/>
                  </a:lnTo>
                  <a:lnTo>
                    <a:pt x="1811" y="1205"/>
                  </a:lnTo>
                  <a:lnTo>
                    <a:pt x="1798" y="1168"/>
                  </a:lnTo>
                  <a:lnTo>
                    <a:pt x="1785" y="1131"/>
                  </a:lnTo>
                  <a:lnTo>
                    <a:pt x="1772" y="1095"/>
                  </a:lnTo>
                  <a:lnTo>
                    <a:pt x="1758" y="1058"/>
                  </a:lnTo>
                  <a:lnTo>
                    <a:pt x="1742" y="1022"/>
                  </a:lnTo>
                  <a:lnTo>
                    <a:pt x="1726" y="987"/>
                  </a:lnTo>
                  <a:lnTo>
                    <a:pt x="1709" y="952"/>
                  </a:lnTo>
                  <a:lnTo>
                    <a:pt x="1691" y="917"/>
                  </a:lnTo>
                  <a:lnTo>
                    <a:pt x="1673" y="883"/>
                  </a:lnTo>
                  <a:lnTo>
                    <a:pt x="1654" y="849"/>
                  </a:lnTo>
                  <a:lnTo>
                    <a:pt x="1635" y="816"/>
                  </a:lnTo>
                  <a:lnTo>
                    <a:pt x="1614" y="783"/>
                  </a:lnTo>
                  <a:lnTo>
                    <a:pt x="1592" y="751"/>
                  </a:lnTo>
                  <a:lnTo>
                    <a:pt x="1570" y="719"/>
                  </a:lnTo>
                  <a:lnTo>
                    <a:pt x="1548" y="688"/>
                  </a:lnTo>
                  <a:lnTo>
                    <a:pt x="1525" y="657"/>
                  </a:lnTo>
                  <a:lnTo>
                    <a:pt x="1501" y="628"/>
                  </a:lnTo>
                  <a:lnTo>
                    <a:pt x="1477" y="598"/>
                  </a:lnTo>
                  <a:lnTo>
                    <a:pt x="1451" y="569"/>
                  </a:lnTo>
                  <a:lnTo>
                    <a:pt x="1425" y="540"/>
                  </a:lnTo>
                  <a:lnTo>
                    <a:pt x="1398" y="513"/>
                  </a:lnTo>
                  <a:lnTo>
                    <a:pt x="1372" y="485"/>
                  </a:lnTo>
                  <a:lnTo>
                    <a:pt x="1344" y="459"/>
                  </a:lnTo>
                  <a:lnTo>
                    <a:pt x="1316" y="432"/>
                  </a:lnTo>
                  <a:lnTo>
                    <a:pt x="1287" y="407"/>
                  </a:lnTo>
                  <a:lnTo>
                    <a:pt x="1257" y="382"/>
                  </a:lnTo>
                  <a:lnTo>
                    <a:pt x="1228" y="359"/>
                  </a:lnTo>
                  <a:lnTo>
                    <a:pt x="1197" y="334"/>
                  </a:lnTo>
                  <a:lnTo>
                    <a:pt x="1166" y="312"/>
                  </a:lnTo>
                  <a:lnTo>
                    <a:pt x="1135" y="289"/>
                  </a:lnTo>
                  <a:lnTo>
                    <a:pt x="1103" y="268"/>
                  </a:lnTo>
                  <a:lnTo>
                    <a:pt x="1071" y="247"/>
                  </a:lnTo>
                  <a:lnTo>
                    <a:pt x="1038" y="228"/>
                  </a:lnTo>
                  <a:lnTo>
                    <a:pt x="1004" y="208"/>
                  </a:lnTo>
                  <a:lnTo>
                    <a:pt x="970" y="189"/>
                  </a:lnTo>
                  <a:lnTo>
                    <a:pt x="936" y="171"/>
                  </a:lnTo>
                  <a:lnTo>
                    <a:pt x="901" y="154"/>
                  </a:lnTo>
                  <a:lnTo>
                    <a:pt x="866" y="138"/>
                  </a:lnTo>
                  <a:lnTo>
                    <a:pt x="830" y="122"/>
                  </a:lnTo>
                  <a:lnTo>
                    <a:pt x="794" y="108"/>
                  </a:lnTo>
                  <a:lnTo>
                    <a:pt x="757" y="94"/>
                  </a:lnTo>
                  <a:lnTo>
                    <a:pt x="721" y="81"/>
                  </a:lnTo>
                  <a:lnTo>
                    <a:pt x="684" y="68"/>
                  </a:lnTo>
                  <a:lnTo>
                    <a:pt x="646" y="56"/>
                  </a:lnTo>
                  <a:lnTo>
                    <a:pt x="608" y="46"/>
                  </a:lnTo>
                  <a:lnTo>
                    <a:pt x="569" y="36"/>
                  </a:lnTo>
                  <a:lnTo>
                    <a:pt x="531" y="28"/>
                  </a:lnTo>
                  <a:lnTo>
                    <a:pt x="492" y="19"/>
                  </a:lnTo>
                  <a:lnTo>
                    <a:pt x="453" y="12"/>
                  </a:lnTo>
                  <a:lnTo>
                    <a:pt x="412" y="5"/>
                  </a:lnTo>
                  <a:lnTo>
                    <a:pt x="373" y="0"/>
                  </a:lnTo>
                  <a:lnTo>
                    <a:pt x="373" y="1790"/>
                  </a:lnTo>
                  <a:close/>
                  <a:moveTo>
                    <a:pt x="337" y="2668"/>
                  </a:moveTo>
                  <a:lnTo>
                    <a:pt x="316" y="2667"/>
                  </a:lnTo>
                  <a:lnTo>
                    <a:pt x="294" y="2663"/>
                  </a:lnTo>
                  <a:lnTo>
                    <a:pt x="274" y="2658"/>
                  </a:lnTo>
                  <a:lnTo>
                    <a:pt x="253" y="2651"/>
                  </a:lnTo>
                  <a:lnTo>
                    <a:pt x="234" y="2642"/>
                  </a:lnTo>
                  <a:lnTo>
                    <a:pt x="217" y="2632"/>
                  </a:lnTo>
                  <a:lnTo>
                    <a:pt x="209" y="2625"/>
                  </a:lnTo>
                  <a:lnTo>
                    <a:pt x="200" y="2619"/>
                  </a:lnTo>
                  <a:lnTo>
                    <a:pt x="192" y="2612"/>
                  </a:lnTo>
                  <a:lnTo>
                    <a:pt x="185" y="2605"/>
                  </a:lnTo>
                  <a:lnTo>
                    <a:pt x="178" y="2598"/>
                  </a:lnTo>
                  <a:lnTo>
                    <a:pt x="171" y="2589"/>
                  </a:lnTo>
                  <a:lnTo>
                    <a:pt x="164" y="2582"/>
                  </a:lnTo>
                  <a:lnTo>
                    <a:pt x="158" y="2573"/>
                  </a:lnTo>
                  <a:lnTo>
                    <a:pt x="147" y="2555"/>
                  </a:lnTo>
                  <a:lnTo>
                    <a:pt x="139" y="2536"/>
                  </a:lnTo>
                  <a:lnTo>
                    <a:pt x="132" y="2516"/>
                  </a:lnTo>
                  <a:lnTo>
                    <a:pt x="126" y="2495"/>
                  </a:lnTo>
                  <a:lnTo>
                    <a:pt x="123" y="2474"/>
                  </a:lnTo>
                  <a:lnTo>
                    <a:pt x="122" y="2452"/>
                  </a:lnTo>
                  <a:lnTo>
                    <a:pt x="123" y="2429"/>
                  </a:lnTo>
                  <a:lnTo>
                    <a:pt x="126" y="2408"/>
                  </a:lnTo>
                  <a:lnTo>
                    <a:pt x="132" y="2387"/>
                  </a:lnTo>
                  <a:lnTo>
                    <a:pt x="139" y="2367"/>
                  </a:lnTo>
                  <a:lnTo>
                    <a:pt x="147" y="2349"/>
                  </a:lnTo>
                  <a:lnTo>
                    <a:pt x="158" y="2331"/>
                  </a:lnTo>
                  <a:lnTo>
                    <a:pt x="164" y="2322"/>
                  </a:lnTo>
                  <a:lnTo>
                    <a:pt x="171" y="2314"/>
                  </a:lnTo>
                  <a:lnTo>
                    <a:pt x="178" y="2306"/>
                  </a:lnTo>
                  <a:lnTo>
                    <a:pt x="185" y="2299"/>
                  </a:lnTo>
                  <a:lnTo>
                    <a:pt x="192" y="2291"/>
                  </a:lnTo>
                  <a:lnTo>
                    <a:pt x="200" y="2284"/>
                  </a:lnTo>
                  <a:lnTo>
                    <a:pt x="209" y="2277"/>
                  </a:lnTo>
                  <a:lnTo>
                    <a:pt x="217" y="2272"/>
                  </a:lnTo>
                  <a:lnTo>
                    <a:pt x="234" y="2260"/>
                  </a:lnTo>
                  <a:lnTo>
                    <a:pt x="253" y="2252"/>
                  </a:lnTo>
                  <a:lnTo>
                    <a:pt x="274" y="2244"/>
                  </a:lnTo>
                  <a:lnTo>
                    <a:pt x="294" y="2239"/>
                  </a:lnTo>
                  <a:lnTo>
                    <a:pt x="316" y="2236"/>
                  </a:lnTo>
                  <a:lnTo>
                    <a:pt x="337" y="2235"/>
                  </a:lnTo>
                  <a:lnTo>
                    <a:pt x="359" y="2236"/>
                  </a:lnTo>
                  <a:lnTo>
                    <a:pt x="382" y="2239"/>
                  </a:lnTo>
                  <a:lnTo>
                    <a:pt x="402" y="2244"/>
                  </a:lnTo>
                  <a:lnTo>
                    <a:pt x="422" y="2252"/>
                  </a:lnTo>
                  <a:lnTo>
                    <a:pt x="441" y="2260"/>
                  </a:lnTo>
                  <a:lnTo>
                    <a:pt x="459" y="2272"/>
                  </a:lnTo>
                  <a:lnTo>
                    <a:pt x="468" y="2277"/>
                  </a:lnTo>
                  <a:lnTo>
                    <a:pt x="476" y="2284"/>
                  </a:lnTo>
                  <a:lnTo>
                    <a:pt x="484" y="2291"/>
                  </a:lnTo>
                  <a:lnTo>
                    <a:pt x="491" y="2299"/>
                  </a:lnTo>
                  <a:lnTo>
                    <a:pt x="498" y="2306"/>
                  </a:lnTo>
                  <a:lnTo>
                    <a:pt x="505" y="2314"/>
                  </a:lnTo>
                  <a:lnTo>
                    <a:pt x="511" y="2322"/>
                  </a:lnTo>
                  <a:lnTo>
                    <a:pt x="517" y="2331"/>
                  </a:lnTo>
                  <a:lnTo>
                    <a:pt x="528" y="2349"/>
                  </a:lnTo>
                  <a:lnTo>
                    <a:pt x="538" y="2367"/>
                  </a:lnTo>
                  <a:lnTo>
                    <a:pt x="545" y="2387"/>
                  </a:lnTo>
                  <a:lnTo>
                    <a:pt x="550" y="2408"/>
                  </a:lnTo>
                  <a:lnTo>
                    <a:pt x="553" y="2429"/>
                  </a:lnTo>
                  <a:lnTo>
                    <a:pt x="555" y="2452"/>
                  </a:lnTo>
                  <a:lnTo>
                    <a:pt x="553" y="2474"/>
                  </a:lnTo>
                  <a:lnTo>
                    <a:pt x="550" y="2495"/>
                  </a:lnTo>
                  <a:lnTo>
                    <a:pt x="545" y="2516"/>
                  </a:lnTo>
                  <a:lnTo>
                    <a:pt x="538" y="2536"/>
                  </a:lnTo>
                  <a:lnTo>
                    <a:pt x="528" y="2555"/>
                  </a:lnTo>
                  <a:lnTo>
                    <a:pt x="517" y="2573"/>
                  </a:lnTo>
                  <a:lnTo>
                    <a:pt x="511" y="2582"/>
                  </a:lnTo>
                  <a:lnTo>
                    <a:pt x="505" y="2589"/>
                  </a:lnTo>
                  <a:lnTo>
                    <a:pt x="498" y="2598"/>
                  </a:lnTo>
                  <a:lnTo>
                    <a:pt x="491" y="2605"/>
                  </a:lnTo>
                  <a:lnTo>
                    <a:pt x="484" y="2612"/>
                  </a:lnTo>
                  <a:lnTo>
                    <a:pt x="476" y="2619"/>
                  </a:lnTo>
                  <a:lnTo>
                    <a:pt x="468" y="2625"/>
                  </a:lnTo>
                  <a:lnTo>
                    <a:pt x="459" y="2632"/>
                  </a:lnTo>
                  <a:lnTo>
                    <a:pt x="441" y="2642"/>
                  </a:lnTo>
                  <a:lnTo>
                    <a:pt x="422" y="2651"/>
                  </a:lnTo>
                  <a:lnTo>
                    <a:pt x="402" y="2658"/>
                  </a:lnTo>
                  <a:lnTo>
                    <a:pt x="382" y="2663"/>
                  </a:lnTo>
                  <a:lnTo>
                    <a:pt x="359" y="2667"/>
                  </a:lnTo>
                  <a:lnTo>
                    <a:pt x="337" y="2668"/>
                  </a:lnTo>
                  <a:close/>
                  <a:moveTo>
                    <a:pt x="844" y="2668"/>
                  </a:moveTo>
                  <a:lnTo>
                    <a:pt x="823" y="2667"/>
                  </a:lnTo>
                  <a:lnTo>
                    <a:pt x="802" y="2663"/>
                  </a:lnTo>
                  <a:lnTo>
                    <a:pt x="780" y="2658"/>
                  </a:lnTo>
                  <a:lnTo>
                    <a:pt x="760" y="2651"/>
                  </a:lnTo>
                  <a:lnTo>
                    <a:pt x="742" y="2642"/>
                  </a:lnTo>
                  <a:lnTo>
                    <a:pt x="724" y="2632"/>
                  </a:lnTo>
                  <a:lnTo>
                    <a:pt x="716" y="2625"/>
                  </a:lnTo>
                  <a:lnTo>
                    <a:pt x="707" y="2619"/>
                  </a:lnTo>
                  <a:lnTo>
                    <a:pt x="700" y="2612"/>
                  </a:lnTo>
                  <a:lnTo>
                    <a:pt x="692" y="2605"/>
                  </a:lnTo>
                  <a:lnTo>
                    <a:pt x="685" y="2598"/>
                  </a:lnTo>
                  <a:lnTo>
                    <a:pt x="678" y="2589"/>
                  </a:lnTo>
                  <a:lnTo>
                    <a:pt x="671" y="2582"/>
                  </a:lnTo>
                  <a:lnTo>
                    <a:pt x="666" y="2573"/>
                  </a:lnTo>
                  <a:lnTo>
                    <a:pt x="654" y="2555"/>
                  </a:lnTo>
                  <a:lnTo>
                    <a:pt x="646" y="2536"/>
                  </a:lnTo>
                  <a:lnTo>
                    <a:pt x="638" y="2516"/>
                  </a:lnTo>
                  <a:lnTo>
                    <a:pt x="633" y="2495"/>
                  </a:lnTo>
                  <a:lnTo>
                    <a:pt x="630" y="2474"/>
                  </a:lnTo>
                  <a:lnTo>
                    <a:pt x="629" y="2452"/>
                  </a:lnTo>
                  <a:lnTo>
                    <a:pt x="630" y="2429"/>
                  </a:lnTo>
                  <a:lnTo>
                    <a:pt x="633" y="2408"/>
                  </a:lnTo>
                  <a:lnTo>
                    <a:pt x="638" y="2387"/>
                  </a:lnTo>
                  <a:lnTo>
                    <a:pt x="646" y="2367"/>
                  </a:lnTo>
                  <a:lnTo>
                    <a:pt x="654" y="2349"/>
                  </a:lnTo>
                  <a:lnTo>
                    <a:pt x="666" y="2331"/>
                  </a:lnTo>
                  <a:lnTo>
                    <a:pt x="671" y="2322"/>
                  </a:lnTo>
                  <a:lnTo>
                    <a:pt x="678" y="2314"/>
                  </a:lnTo>
                  <a:lnTo>
                    <a:pt x="685" y="2306"/>
                  </a:lnTo>
                  <a:lnTo>
                    <a:pt x="692" y="2299"/>
                  </a:lnTo>
                  <a:lnTo>
                    <a:pt x="700" y="2291"/>
                  </a:lnTo>
                  <a:lnTo>
                    <a:pt x="707" y="2284"/>
                  </a:lnTo>
                  <a:lnTo>
                    <a:pt x="716" y="2277"/>
                  </a:lnTo>
                  <a:lnTo>
                    <a:pt x="724" y="2272"/>
                  </a:lnTo>
                  <a:lnTo>
                    <a:pt x="742" y="2260"/>
                  </a:lnTo>
                  <a:lnTo>
                    <a:pt x="760" y="2252"/>
                  </a:lnTo>
                  <a:lnTo>
                    <a:pt x="780" y="2244"/>
                  </a:lnTo>
                  <a:lnTo>
                    <a:pt x="802" y="2239"/>
                  </a:lnTo>
                  <a:lnTo>
                    <a:pt x="823" y="2236"/>
                  </a:lnTo>
                  <a:lnTo>
                    <a:pt x="844" y="2235"/>
                  </a:lnTo>
                  <a:lnTo>
                    <a:pt x="866" y="2236"/>
                  </a:lnTo>
                  <a:lnTo>
                    <a:pt x="888" y="2239"/>
                  </a:lnTo>
                  <a:lnTo>
                    <a:pt x="909" y="2244"/>
                  </a:lnTo>
                  <a:lnTo>
                    <a:pt x="929" y="2252"/>
                  </a:lnTo>
                  <a:lnTo>
                    <a:pt x="948" y="2260"/>
                  </a:lnTo>
                  <a:lnTo>
                    <a:pt x="966" y="2272"/>
                  </a:lnTo>
                  <a:lnTo>
                    <a:pt x="973" y="2277"/>
                  </a:lnTo>
                  <a:lnTo>
                    <a:pt x="982" y="2284"/>
                  </a:lnTo>
                  <a:lnTo>
                    <a:pt x="990" y="2291"/>
                  </a:lnTo>
                  <a:lnTo>
                    <a:pt x="998" y="2299"/>
                  </a:lnTo>
                  <a:lnTo>
                    <a:pt x="1004" y="2306"/>
                  </a:lnTo>
                  <a:lnTo>
                    <a:pt x="1011" y="2314"/>
                  </a:lnTo>
                  <a:lnTo>
                    <a:pt x="1018" y="2322"/>
                  </a:lnTo>
                  <a:lnTo>
                    <a:pt x="1024" y="2331"/>
                  </a:lnTo>
                  <a:lnTo>
                    <a:pt x="1035" y="2349"/>
                  </a:lnTo>
                  <a:lnTo>
                    <a:pt x="1043" y="2367"/>
                  </a:lnTo>
                  <a:lnTo>
                    <a:pt x="1051" y="2387"/>
                  </a:lnTo>
                  <a:lnTo>
                    <a:pt x="1056" y="2408"/>
                  </a:lnTo>
                  <a:lnTo>
                    <a:pt x="1059" y="2429"/>
                  </a:lnTo>
                  <a:lnTo>
                    <a:pt x="1060" y="2452"/>
                  </a:lnTo>
                  <a:lnTo>
                    <a:pt x="1059" y="2474"/>
                  </a:lnTo>
                  <a:lnTo>
                    <a:pt x="1056" y="2495"/>
                  </a:lnTo>
                  <a:lnTo>
                    <a:pt x="1051" y="2516"/>
                  </a:lnTo>
                  <a:lnTo>
                    <a:pt x="1043" y="2536"/>
                  </a:lnTo>
                  <a:lnTo>
                    <a:pt x="1035" y="2555"/>
                  </a:lnTo>
                  <a:lnTo>
                    <a:pt x="1024" y="2573"/>
                  </a:lnTo>
                  <a:lnTo>
                    <a:pt x="1018" y="2582"/>
                  </a:lnTo>
                  <a:lnTo>
                    <a:pt x="1011" y="2589"/>
                  </a:lnTo>
                  <a:lnTo>
                    <a:pt x="1004" y="2598"/>
                  </a:lnTo>
                  <a:lnTo>
                    <a:pt x="998" y="2605"/>
                  </a:lnTo>
                  <a:lnTo>
                    <a:pt x="990" y="2612"/>
                  </a:lnTo>
                  <a:lnTo>
                    <a:pt x="982" y="2619"/>
                  </a:lnTo>
                  <a:lnTo>
                    <a:pt x="973" y="2625"/>
                  </a:lnTo>
                  <a:lnTo>
                    <a:pt x="966" y="2632"/>
                  </a:lnTo>
                  <a:lnTo>
                    <a:pt x="948" y="2642"/>
                  </a:lnTo>
                  <a:lnTo>
                    <a:pt x="929" y="2651"/>
                  </a:lnTo>
                  <a:lnTo>
                    <a:pt x="909" y="2658"/>
                  </a:lnTo>
                  <a:lnTo>
                    <a:pt x="888" y="2663"/>
                  </a:lnTo>
                  <a:lnTo>
                    <a:pt x="866" y="2667"/>
                  </a:lnTo>
                  <a:lnTo>
                    <a:pt x="844" y="2668"/>
                  </a:lnTo>
                  <a:close/>
                  <a:moveTo>
                    <a:pt x="1351" y="2668"/>
                  </a:moveTo>
                  <a:lnTo>
                    <a:pt x="1329" y="2667"/>
                  </a:lnTo>
                  <a:lnTo>
                    <a:pt x="1307" y="2663"/>
                  </a:lnTo>
                  <a:lnTo>
                    <a:pt x="1287" y="2658"/>
                  </a:lnTo>
                  <a:lnTo>
                    <a:pt x="1267" y="2651"/>
                  </a:lnTo>
                  <a:lnTo>
                    <a:pt x="1248" y="2642"/>
                  </a:lnTo>
                  <a:lnTo>
                    <a:pt x="1230" y="2632"/>
                  </a:lnTo>
                  <a:lnTo>
                    <a:pt x="1221" y="2625"/>
                  </a:lnTo>
                  <a:lnTo>
                    <a:pt x="1214" y="2619"/>
                  </a:lnTo>
                  <a:lnTo>
                    <a:pt x="1205" y="2612"/>
                  </a:lnTo>
                  <a:lnTo>
                    <a:pt x="1198" y="2605"/>
                  </a:lnTo>
                  <a:lnTo>
                    <a:pt x="1191" y="2598"/>
                  </a:lnTo>
                  <a:lnTo>
                    <a:pt x="1184" y="2589"/>
                  </a:lnTo>
                  <a:lnTo>
                    <a:pt x="1178" y="2582"/>
                  </a:lnTo>
                  <a:lnTo>
                    <a:pt x="1172" y="2573"/>
                  </a:lnTo>
                  <a:lnTo>
                    <a:pt x="1161" y="2555"/>
                  </a:lnTo>
                  <a:lnTo>
                    <a:pt x="1152" y="2536"/>
                  </a:lnTo>
                  <a:lnTo>
                    <a:pt x="1145" y="2516"/>
                  </a:lnTo>
                  <a:lnTo>
                    <a:pt x="1140" y="2495"/>
                  </a:lnTo>
                  <a:lnTo>
                    <a:pt x="1137" y="2474"/>
                  </a:lnTo>
                  <a:lnTo>
                    <a:pt x="1135" y="2452"/>
                  </a:lnTo>
                  <a:lnTo>
                    <a:pt x="1137" y="2429"/>
                  </a:lnTo>
                  <a:lnTo>
                    <a:pt x="1140" y="2408"/>
                  </a:lnTo>
                  <a:lnTo>
                    <a:pt x="1145" y="2387"/>
                  </a:lnTo>
                  <a:lnTo>
                    <a:pt x="1152" y="2367"/>
                  </a:lnTo>
                  <a:lnTo>
                    <a:pt x="1161" y="2349"/>
                  </a:lnTo>
                  <a:lnTo>
                    <a:pt x="1172" y="2331"/>
                  </a:lnTo>
                  <a:lnTo>
                    <a:pt x="1178" y="2322"/>
                  </a:lnTo>
                  <a:lnTo>
                    <a:pt x="1184" y="2314"/>
                  </a:lnTo>
                  <a:lnTo>
                    <a:pt x="1191" y="2306"/>
                  </a:lnTo>
                  <a:lnTo>
                    <a:pt x="1198" y="2299"/>
                  </a:lnTo>
                  <a:lnTo>
                    <a:pt x="1205" y="2291"/>
                  </a:lnTo>
                  <a:lnTo>
                    <a:pt x="1214" y="2284"/>
                  </a:lnTo>
                  <a:lnTo>
                    <a:pt x="1221" y="2277"/>
                  </a:lnTo>
                  <a:lnTo>
                    <a:pt x="1230" y="2272"/>
                  </a:lnTo>
                  <a:lnTo>
                    <a:pt x="1248" y="2260"/>
                  </a:lnTo>
                  <a:lnTo>
                    <a:pt x="1267" y="2252"/>
                  </a:lnTo>
                  <a:lnTo>
                    <a:pt x="1287" y="2244"/>
                  </a:lnTo>
                  <a:lnTo>
                    <a:pt x="1307" y="2239"/>
                  </a:lnTo>
                  <a:lnTo>
                    <a:pt x="1329" y="2236"/>
                  </a:lnTo>
                  <a:lnTo>
                    <a:pt x="1351" y="2235"/>
                  </a:lnTo>
                  <a:lnTo>
                    <a:pt x="1373" y="2236"/>
                  </a:lnTo>
                  <a:lnTo>
                    <a:pt x="1394" y="2239"/>
                  </a:lnTo>
                  <a:lnTo>
                    <a:pt x="1415" y="2244"/>
                  </a:lnTo>
                  <a:lnTo>
                    <a:pt x="1435" y="2252"/>
                  </a:lnTo>
                  <a:lnTo>
                    <a:pt x="1455" y="2260"/>
                  </a:lnTo>
                  <a:lnTo>
                    <a:pt x="1472" y="2272"/>
                  </a:lnTo>
                  <a:lnTo>
                    <a:pt x="1480" y="2277"/>
                  </a:lnTo>
                  <a:lnTo>
                    <a:pt x="1488" y="2284"/>
                  </a:lnTo>
                  <a:lnTo>
                    <a:pt x="1496" y="2291"/>
                  </a:lnTo>
                  <a:lnTo>
                    <a:pt x="1504" y="2299"/>
                  </a:lnTo>
                  <a:lnTo>
                    <a:pt x="1511" y="2306"/>
                  </a:lnTo>
                  <a:lnTo>
                    <a:pt x="1518" y="2314"/>
                  </a:lnTo>
                  <a:lnTo>
                    <a:pt x="1525" y="2322"/>
                  </a:lnTo>
                  <a:lnTo>
                    <a:pt x="1530" y="2331"/>
                  </a:lnTo>
                  <a:lnTo>
                    <a:pt x="1542" y="2349"/>
                  </a:lnTo>
                  <a:lnTo>
                    <a:pt x="1550" y="2367"/>
                  </a:lnTo>
                  <a:lnTo>
                    <a:pt x="1557" y="2387"/>
                  </a:lnTo>
                  <a:lnTo>
                    <a:pt x="1563" y="2408"/>
                  </a:lnTo>
                  <a:lnTo>
                    <a:pt x="1566" y="2429"/>
                  </a:lnTo>
                  <a:lnTo>
                    <a:pt x="1567" y="2452"/>
                  </a:lnTo>
                  <a:lnTo>
                    <a:pt x="1566" y="2474"/>
                  </a:lnTo>
                  <a:lnTo>
                    <a:pt x="1563" y="2495"/>
                  </a:lnTo>
                  <a:lnTo>
                    <a:pt x="1557" y="2516"/>
                  </a:lnTo>
                  <a:lnTo>
                    <a:pt x="1550" y="2536"/>
                  </a:lnTo>
                  <a:lnTo>
                    <a:pt x="1542" y="2555"/>
                  </a:lnTo>
                  <a:lnTo>
                    <a:pt x="1530" y="2573"/>
                  </a:lnTo>
                  <a:lnTo>
                    <a:pt x="1525" y="2582"/>
                  </a:lnTo>
                  <a:lnTo>
                    <a:pt x="1518" y="2589"/>
                  </a:lnTo>
                  <a:lnTo>
                    <a:pt x="1511" y="2598"/>
                  </a:lnTo>
                  <a:lnTo>
                    <a:pt x="1504" y="2605"/>
                  </a:lnTo>
                  <a:lnTo>
                    <a:pt x="1496" y="2612"/>
                  </a:lnTo>
                  <a:lnTo>
                    <a:pt x="1488" y="2619"/>
                  </a:lnTo>
                  <a:lnTo>
                    <a:pt x="1480" y="2625"/>
                  </a:lnTo>
                  <a:lnTo>
                    <a:pt x="1472" y="2632"/>
                  </a:lnTo>
                  <a:lnTo>
                    <a:pt x="1455" y="2642"/>
                  </a:lnTo>
                  <a:lnTo>
                    <a:pt x="1435" y="2651"/>
                  </a:lnTo>
                  <a:lnTo>
                    <a:pt x="1415" y="2658"/>
                  </a:lnTo>
                  <a:lnTo>
                    <a:pt x="1394" y="2663"/>
                  </a:lnTo>
                  <a:lnTo>
                    <a:pt x="1373" y="2667"/>
                  </a:lnTo>
                  <a:lnTo>
                    <a:pt x="1351" y="266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24" name="Freeform 7"/>
            <p:cNvSpPr>
              <a:spLocks noEditPoints="1"/>
            </p:cNvSpPr>
            <p:nvPr/>
          </p:nvSpPr>
          <p:spPr bwMode="auto">
            <a:xfrm>
              <a:off x="5176838" y="2511426"/>
              <a:ext cx="919163" cy="1816100"/>
            </a:xfrm>
            <a:custGeom>
              <a:avLst/>
              <a:gdLst>
                <a:gd name="T0" fmla="*/ 1734 w 1735"/>
                <a:gd name="T1" fmla="*/ 0 h 3431"/>
                <a:gd name="T2" fmla="*/ 1734 w 1735"/>
                <a:gd name="T3" fmla="*/ 0 h 3431"/>
                <a:gd name="T4" fmla="*/ 1733 w 1735"/>
                <a:gd name="T5" fmla="*/ 0 h 3431"/>
                <a:gd name="T6" fmla="*/ 1733 w 1735"/>
                <a:gd name="T7" fmla="*/ 0 h 3431"/>
                <a:gd name="T8" fmla="*/ 1732 w 1735"/>
                <a:gd name="T9" fmla="*/ 0 h 3431"/>
                <a:gd name="T10" fmla="*/ 1731 w 1735"/>
                <a:gd name="T11" fmla="*/ 0 h 3431"/>
                <a:gd name="T12" fmla="*/ 1730 w 1735"/>
                <a:gd name="T13" fmla="*/ 0 h 3431"/>
                <a:gd name="T14" fmla="*/ 1729 w 1735"/>
                <a:gd name="T15" fmla="*/ 0 h 3431"/>
                <a:gd name="T16" fmla="*/ 1510 w 1735"/>
                <a:gd name="T17" fmla="*/ 14 h 3431"/>
                <a:gd name="T18" fmla="*/ 1298 w 1735"/>
                <a:gd name="T19" fmla="*/ 55 h 3431"/>
                <a:gd name="T20" fmla="*/ 1095 w 1735"/>
                <a:gd name="T21" fmla="*/ 121 h 3431"/>
                <a:gd name="T22" fmla="*/ 905 w 1735"/>
                <a:gd name="T23" fmla="*/ 210 h 3431"/>
                <a:gd name="T24" fmla="*/ 728 w 1735"/>
                <a:gd name="T25" fmla="*/ 320 h 3431"/>
                <a:gd name="T26" fmla="*/ 567 w 1735"/>
                <a:gd name="T27" fmla="*/ 451 h 3431"/>
                <a:gd name="T28" fmla="*/ 422 w 1735"/>
                <a:gd name="T29" fmla="*/ 600 h 3431"/>
                <a:gd name="T30" fmla="*/ 296 w 1735"/>
                <a:gd name="T31" fmla="*/ 765 h 3431"/>
                <a:gd name="T32" fmla="*/ 190 w 1735"/>
                <a:gd name="T33" fmla="*/ 945 h 3431"/>
                <a:gd name="T34" fmla="*/ 105 w 1735"/>
                <a:gd name="T35" fmla="*/ 1138 h 3431"/>
                <a:gd name="T36" fmla="*/ 45 w 1735"/>
                <a:gd name="T37" fmla="*/ 1344 h 3431"/>
                <a:gd name="T38" fmla="*/ 10 w 1735"/>
                <a:gd name="T39" fmla="*/ 1558 h 3431"/>
                <a:gd name="T40" fmla="*/ 1 w 1735"/>
                <a:gd name="T41" fmla="*/ 1773 h 3431"/>
                <a:gd name="T42" fmla="*/ 15 w 1735"/>
                <a:gd name="T43" fmla="*/ 1965 h 3431"/>
                <a:gd name="T44" fmla="*/ 50 w 1735"/>
                <a:gd name="T45" fmla="*/ 2150 h 3431"/>
                <a:gd name="T46" fmla="*/ 104 w 1735"/>
                <a:gd name="T47" fmla="*/ 2327 h 3431"/>
                <a:gd name="T48" fmla="*/ 175 w 1735"/>
                <a:gd name="T49" fmla="*/ 2496 h 3431"/>
                <a:gd name="T50" fmla="*/ 263 w 1735"/>
                <a:gd name="T51" fmla="*/ 2655 h 3431"/>
                <a:gd name="T52" fmla="*/ 367 w 1735"/>
                <a:gd name="T53" fmla="*/ 2803 h 3431"/>
                <a:gd name="T54" fmla="*/ 486 w 1735"/>
                <a:gd name="T55" fmla="*/ 2939 h 3431"/>
                <a:gd name="T56" fmla="*/ 617 w 1735"/>
                <a:gd name="T57" fmla="*/ 3063 h 3431"/>
                <a:gd name="T58" fmla="*/ 760 w 1735"/>
                <a:gd name="T59" fmla="*/ 3172 h 3431"/>
                <a:gd name="T60" fmla="*/ 916 w 1735"/>
                <a:gd name="T61" fmla="*/ 3266 h 3431"/>
                <a:gd name="T62" fmla="*/ 1080 w 1735"/>
                <a:gd name="T63" fmla="*/ 3343 h 3431"/>
                <a:gd name="T64" fmla="*/ 1254 w 1735"/>
                <a:gd name="T65" fmla="*/ 3403 h 3431"/>
                <a:gd name="T66" fmla="*/ 1365 w 1735"/>
                <a:gd name="T67" fmla="*/ 1847 h 3431"/>
                <a:gd name="T68" fmla="*/ 1446 w 1735"/>
                <a:gd name="T69" fmla="*/ 1748 h 3431"/>
                <a:gd name="T70" fmla="*/ 1498 w 1735"/>
                <a:gd name="T71" fmla="*/ 1735 h 3431"/>
                <a:gd name="T72" fmla="*/ 1498 w 1735"/>
                <a:gd name="T73" fmla="*/ 1735 h 3431"/>
                <a:gd name="T74" fmla="*/ 1498 w 1735"/>
                <a:gd name="T75" fmla="*/ 1735 h 3431"/>
                <a:gd name="T76" fmla="*/ 1498 w 1735"/>
                <a:gd name="T77" fmla="*/ 1735 h 3431"/>
                <a:gd name="T78" fmla="*/ 1704 w 1735"/>
                <a:gd name="T79" fmla="*/ 1735 h 3431"/>
                <a:gd name="T80" fmla="*/ 1730 w 1735"/>
                <a:gd name="T81" fmla="*/ 1729 h 3431"/>
                <a:gd name="T82" fmla="*/ 1735 w 1735"/>
                <a:gd name="T83" fmla="*/ 0 h 3431"/>
                <a:gd name="T84" fmla="*/ 1314 w 1735"/>
                <a:gd name="T85" fmla="*/ 1414 h 3431"/>
                <a:gd name="T86" fmla="*/ 1253 w 1735"/>
                <a:gd name="T87" fmla="*/ 1375 h 3431"/>
                <a:gd name="T88" fmla="*/ 1219 w 1735"/>
                <a:gd name="T89" fmla="*/ 1335 h 3431"/>
                <a:gd name="T90" fmla="*/ 1183 w 1735"/>
                <a:gd name="T91" fmla="*/ 1236 h 3431"/>
                <a:gd name="T92" fmla="*/ 1199 w 1735"/>
                <a:gd name="T93" fmla="*/ 1130 h 3431"/>
                <a:gd name="T94" fmla="*/ 1238 w 1735"/>
                <a:gd name="T95" fmla="*/ 1068 h 3431"/>
                <a:gd name="T96" fmla="*/ 1277 w 1735"/>
                <a:gd name="T97" fmla="*/ 1034 h 3431"/>
                <a:gd name="T98" fmla="*/ 1376 w 1735"/>
                <a:gd name="T99" fmla="*/ 998 h 3431"/>
                <a:gd name="T100" fmla="*/ 1482 w 1735"/>
                <a:gd name="T101" fmla="*/ 1014 h 3431"/>
                <a:gd name="T102" fmla="*/ 1544 w 1735"/>
                <a:gd name="T103" fmla="*/ 1053 h 3431"/>
                <a:gd name="T104" fmla="*/ 1578 w 1735"/>
                <a:gd name="T105" fmla="*/ 1093 h 3431"/>
                <a:gd name="T106" fmla="*/ 1614 w 1735"/>
                <a:gd name="T107" fmla="*/ 1192 h 3431"/>
                <a:gd name="T108" fmla="*/ 1598 w 1735"/>
                <a:gd name="T109" fmla="*/ 1298 h 3431"/>
                <a:gd name="T110" fmla="*/ 1558 w 1735"/>
                <a:gd name="T111" fmla="*/ 1360 h 3431"/>
                <a:gd name="T112" fmla="*/ 1519 w 1735"/>
                <a:gd name="T113" fmla="*/ 1394 h 3431"/>
                <a:gd name="T114" fmla="*/ 1421 w 1735"/>
                <a:gd name="T115" fmla="*/ 1430 h 3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5" h="3431">
                  <a:moveTo>
                    <a:pt x="1735" y="0"/>
                  </a:move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29" y="0"/>
                  </a:lnTo>
                  <a:lnTo>
                    <a:pt x="1685" y="1"/>
                  </a:lnTo>
                  <a:lnTo>
                    <a:pt x="1641" y="2"/>
                  </a:lnTo>
                  <a:lnTo>
                    <a:pt x="1597" y="6"/>
                  </a:lnTo>
                  <a:lnTo>
                    <a:pt x="1553" y="10"/>
                  </a:lnTo>
                  <a:lnTo>
                    <a:pt x="1510" y="14"/>
                  </a:lnTo>
                  <a:lnTo>
                    <a:pt x="1466" y="21"/>
                  </a:lnTo>
                  <a:lnTo>
                    <a:pt x="1424" y="28"/>
                  </a:lnTo>
                  <a:lnTo>
                    <a:pt x="1381" y="35"/>
                  </a:lnTo>
                  <a:lnTo>
                    <a:pt x="1339" y="45"/>
                  </a:lnTo>
                  <a:lnTo>
                    <a:pt x="1298" y="55"/>
                  </a:lnTo>
                  <a:lnTo>
                    <a:pt x="1256" y="66"/>
                  </a:lnTo>
                  <a:lnTo>
                    <a:pt x="1215" y="78"/>
                  </a:lnTo>
                  <a:lnTo>
                    <a:pt x="1175" y="92"/>
                  </a:lnTo>
                  <a:lnTo>
                    <a:pt x="1135" y="106"/>
                  </a:lnTo>
                  <a:lnTo>
                    <a:pt x="1095" y="121"/>
                  </a:lnTo>
                  <a:lnTo>
                    <a:pt x="1057" y="136"/>
                  </a:lnTo>
                  <a:lnTo>
                    <a:pt x="1018" y="154"/>
                  </a:lnTo>
                  <a:lnTo>
                    <a:pt x="980" y="172"/>
                  </a:lnTo>
                  <a:lnTo>
                    <a:pt x="943" y="191"/>
                  </a:lnTo>
                  <a:lnTo>
                    <a:pt x="905" y="210"/>
                  </a:lnTo>
                  <a:lnTo>
                    <a:pt x="869" y="230"/>
                  </a:lnTo>
                  <a:lnTo>
                    <a:pt x="833" y="251"/>
                  </a:lnTo>
                  <a:lnTo>
                    <a:pt x="797" y="274"/>
                  </a:lnTo>
                  <a:lnTo>
                    <a:pt x="763" y="297"/>
                  </a:lnTo>
                  <a:lnTo>
                    <a:pt x="728" y="320"/>
                  </a:lnTo>
                  <a:lnTo>
                    <a:pt x="695" y="345"/>
                  </a:lnTo>
                  <a:lnTo>
                    <a:pt x="662" y="370"/>
                  </a:lnTo>
                  <a:lnTo>
                    <a:pt x="630" y="397"/>
                  </a:lnTo>
                  <a:lnTo>
                    <a:pt x="598" y="424"/>
                  </a:lnTo>
                  <a:lnTo>
                    <a:pt x="567" y="451"/>
                  </a:lnTo>
                  <a:lnTo>
                    <a:pt x="536" y="479"/>
                  </a:lnTo>
                  <a:lnTo>
                    <a:pt x="507" y="509"/>
                  </a:lnTo>
                  <a:lnTo>
                    <a:pt x="478" y="539"/>
                  </a:lnTo>
                  <a:lnTo>
                    <a:pt x="450" y="568"/>
                  </a:lnTo>
                  <a:lnTo>
                    <a:pt x="422" y="600"/>
                  </a:lnTo>
                  <a:lnTo>
                    <a:pt x="395" y="632"/>
                  </a:lnTo>
                  <a:lnTo>
                    <a:pt x="369" y="664"/>
                  </a:lnTo>
                  <a:lnTo>
                    <a:pt x="344" y="697"/>
                  </a:lnTo>
                  <a:lnTo>
                    <a:pt x="319" y="731"/>
                  </a:lnTo>
                  <a:lnTo>
                    <a:pt x="296" y="765"/>
                  </a:lnTo>
                  <a:lnTo>
                    <a:pt x="273" y="800"/>
                  </a:lnTo>
                  <a:lnTo>
                    <a:pt x="250" y="835"/>
                  </a:lnTo>
                  <a:lnTo>
                    <a:pt x="229" y="871"/>
                  </a:lnTo>
                  <a:lnTo>
                    <a:pt x="209" y="909"/>
                  </a:lnTo>
                  <a:lnTo>
                    <a:pt x="190" y="945"/>
                  </a:lnTo>
                  <a:lnTo>
                    <a:pt x="171" y="983"/>
                  </a:lnTo>
                  <a:lnTo>
                    <a:pt x="153" y="1021"/>
                  </a:lnTo>
                  <a:lnTo>
                    <a:pt x="136" y="1060"/>
                  </a:lnTo>
                  <a:lnTo>
                    <a:pt x="120" y="1099"/>
                  </a:lnTo>
                  <a:lnTo>
                    <a:pt x="105" y="1138"/>
                  </a:lnTo>
                  <a:lnTo>
                    <a:pt x="91" y="1179"/>
                  </a:lnTo>
                  <a:lnTo>
                    <a:pt x="79" y="1219"/>
                  </a:lnTo>
                  <a:lnTo>
                    <a:pt x="66" y="1260"/>
                  </a:lnTo>
                  <a:lnTo>
                    <a:pt x="55" y="1301"/>
                  </a:lnTo>
                  <a:lnTo>
                    <a:pt x="45" y="1344"/>
                  </a:lnTo>
                  <a:lnTo>
                    <a:pt x="35" y="1385"/>
                  </a:lnTo>
                  <a:lnTo>
                    <a:pt x="28" y="1428"/>
                  </a:lnTo>
                  <a:lnTo>
                    <a:pt x="20" y="1471"/>
                  </a:lnTo>
                  <a:lnTo>
                    <a:pt x="14" y="1514"/>
                  </a:lnTo>
                  <a:lnTo>
                    <a:pt x="10" y="1558"/>
                  </a:lnTo>
                  <a:lnTo>
                    <a:pt x="5" y="1601"/>
                  </a:lnTo>
                  <a:lnTo>
                    <a:pt x="2" y="1646"/>
                  </a:lnTo>
                  <a:lnTo>
                    <a:pt x="1" y="1690"/>
                  </a:lnTo>
                  <a:lnTo>
                    <a:pt x="0" y="1735"/>
                  </a:lnTo>
                  <a:lnTo>
                    <a:pt x="1" y="1773"/>
                  </a:lnTo>
                  <a:lnTo>
                    <a:pt x="2" y="1813"/>
                  </a:lnTo>
                  <a:lnTo>
                    <a:pt x="4" y="1851"/>
                  </a:lnTo>
                  <a:lnTo>
                    <a:pt x="7" y="1889"/>
                  </a:lnTo>
                  <a:lnTo>
                    <a:pt x="11" y="1928"/>
                  </a:lnTo>
                  <a:lnTo>
                    <a:pt x="15" y="1965"/>
                  </a:lnTo>
                  <a:lnTo>
                    <a:pt x="21" y="2002"/>
                  </a:lnTo>
                  <a:lnTo>
                    <a:pt x="27" y="2039"/>
                  </a:lnTo>
                  <a:lnTo>
                    <a:pt x="34" y="2077"/>
                  </a:lnTo>
                  <a:lnTo>
                    <a:pt x="41" y="2114"/>
                  </a:lnTo>
                  <a:lnTo>
                    <a:pt x="50" y="2150"/>
                  </a:lnTo>
                  <a:lnTo>
                    <a:pt x="59" y="2186"/>
                  </a:lnTo>
                  <a:lnTo>
                    <a:pt x="69" y="2221"/>
                  </a:lnTo>
                  <a:lnTo>
                    <a:pt x="80" y="2257"/>
                  </a:lnTo>
                  <a:lnTo>
                    <a:pt x="91" y="2292"/>
                  </a:lnTo>
                  <a:lnTo>
                    <a:pt x="104" y="2327"/>
                  </a:lnTo>
                  <a:lnTo>
                    <a:pt x="117" y="2362"/>
                  </a:lnTo>
                  <a:lnTo>
                    <a:pt x="130" y="2396"/>
                  </a:lnTo>
                  <a:lnTo>
                    <a:pt x="144" y="2430"/>
                  </a:lnTo>
                  <a:lnTo>
                    <a:pt x="159" y="2463"/>
                  </a:lnTo>
                  <a:lnTo>
                    <a:pt x="175" y="2496"/>
                  </a:lnTo>
                  <a:lnTo>
                    <a:pt x="192" y="2529"/>
                  </a:lnTo>
                  <a:lnTo>
                    <a:pt x="209" y="2561"/>
                  </a:lnTo>
                  <a:lnTo>
                    <a:pt x="226" y="2592"/>
                  </a:lnTo>
                  <a:lnTo>
                    <a:pt x="244" y="2623"/>
                  </a:lnTo>
                  <a:lnTo>
                    <a:pt x="263" y="2655"/>
                  </a:lnTo>
                  <a:lnTo>
                    <a:pt x="283" y="2685"/>
                  </a:lnTo>
                  <a:lnTo>
                    <a:pt x="303" y="2716"/>
                  </a:lnTo>
                  <a:lnTo>
                    <a:pt x="323" y="2745"/>
                  </a:lnTo>
                  <a:lnTo>
                    <a:pt x="345" y="2774"/>
                  </a:lnTo>
                  <a:lnTo>
                    <a:pt x="367" y="2803"/>
                  </a:lnTo>
                  <a:lnTo>
                    <a:pt x="389" y="2831"/>
                  </a:lnTo>
                  <a:lnTo>
                    <a:pt x="412" y="2859"/>
                  </a:lnTo>
                  <a:lnTo>
                    <a:pt x="436" y="2886"/>
                  </a:lnTo>
                  <a:lnTo>
                    <a:pt x="460" y="2913"/>
                  </a:lnTo>
                  <a:lnTo>
                    <a:pt x="486" y="2939"/>
                  </a:lnTo>
                  <a:lnTo>
                    <a:pt x="511" y="2965"/>
                  </a:lnTo>
                  <a:lnTo>
                    <a:pt x="536" y="2990"/>
                  </a:lnTo>
                  <a:lnTo>
                    <a:pt x="563" y="3015"/>
                  </a:lnTo>
                  <a:lnTo>
                    <a:pt x="589" y="3039"/>
                  </a:lnTo>
                  <a:lnTo>
                    <a:pt x="617" y="3063"/>
                  </a:lnTo>
                  <a:lnTo>
                    <a:pt x="645" y="3086"/>
                  </a:lnTo>
                  <a:lnTo>
                    <a:pt x="673" y="3108"/>
                  </a:lnTo>
                  <a:lnTo>
                    <a:pt x="702" y="3130"/>
                  </a:lnTo>
                  <a:lnTo>
                    <a:pt x="730" y="3151"/>
                  </a:lnTo>
                  <a:lnTo>
                    <a:pt x="760" y="3172"/>
                  </a:lnTo>
                  <a:lnTo>
                    <a:pt x="791" y="3191"/>
                  </a:lnTo>
                  <a:lnTo>
                    <a:pt x="822" y="3211"/>
                  </a:lnTo>
                  <a:lnTo>
                    <a:pt x="852" y="3230"/>
                  </a:lnTo>
                  <a:lnTo>
                    <a:pt x="884" y="3248"/>
                  </a:lnTo>
                  <a:lnTo>
                    <a:pt x="916" y="3266"/>
                  </a:lnTo>
                  <a:lnTo>
                    <a:pt x="948" y="3283"/>
                  </a:lnTo>
                  <a:lnTo>
                    <a:pt x="981" y="3299"/>
                  </a:lnTo>
                  <a:lnTo>
                    <a:pt x="1014" y="3314"/>
                  </a:lnTo>
                  <a:lnTo>
                    <a:pt x="1046" y="3328"/>
                  </a:lnTo>
                  <a:lnTo>
                    <a:pt x="1080" y="3343"/>
                  </a:lnTo>
                  <a:lnTo>
                    <a:pt x="1114" y="3356"/>
                  </a:lnTo>
                  <a:lnTo>
                    <a:pt x="1149" y="3369"/>
                  </a:lnTo>
                  <a:lnTo>
                    <a:pt x="1184" y="3382"/>
                  </a:lnTo>
                  <a:lnTo>
                    <a:pt x="1219" y="3392"/>
                  </a:lnTo>
                  <a:lnTo>
                    <a:pt x="1254" y="3403"/>
                  </a:lnTo>
                  <a:lnTo>
                    <a:pt x="1290" y="3412"/>
                  </a:lnTo>
                  <a:lnTo>
                    <a:pt x="1326" y="3422"/>
                  </a:lnTo>
                  <a:lnTo>
                    <a:pt x="1362" y="3431"/>
                  </a:lnTo>
                  <a:lnTo>
                    <a:pt x="1362" y="1873"/>
                  </a:lnTo>
                  <a:lnTo>
                    <a:pt x="1365" y="1847"/>
                  </a:lnTo>
                  <a:lnTo>
                    <a:pt x="1374" y="1821"/>
                  </a:lnTo>
                  <a:lnTo>
                    <a:pt x="1387" y="1798"/>
                  </a:lnTo>
                  <a:lnTo>
                    <a:pt x="1403" y="1778"/>
                  </a:lnTo>
                  <a:lnTo>
                    <a:pt x="1423" y="1761"/>
                  </a:lnTo>
                  <a:lnTo>
                    <a:pt x="1446" y="1748"/>
                  </a:lnTo>
                  <a:lnTo>
                    <a:pt x="1470" y="1739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691" y="1735"/>
                  </a:lnTo>
                  <a:lnTo>
                    <a:pt x="1697" y="1735"/>
                  </a:lnTo>
                  <a:lnTo>
                    <a:pt x="1704" y="1735"/>
                  </a:lnTo>
                  <a:lnTo>
                    <a:pt x="1711" y="1735"/>
                  </a:lnTo>
                  <a:lnTo>
                    <a:pt x="1719" y="1734"/>
                  </a:lnTo>
                  <a:lnTo>
                    <a:pt x="1723" y="1733"/>
                  </a:lnTo>
                  <a:lnTo>
                    <a:pt x="1727" y="1732"/>
                  </a:lnTo>
                  <a:lnTo>
                    <a:pt x="1730" y="1729"/>
                  </a:lnTo>
                  <a:lnTo>
                    <a:pt x="1732" y="1727"/>
                  </a:lnTo>
                  <a:lnTo>
                    <a:pt x="1733" y="1724"/>
                  </a:lnTo>
                  <a:lnTo>
                    <a:pt x="1734" y="1720"/>
                  </a:lnTo>
                  <a:lnTo>
                    <a:pt x="1734" y="1717"/>
                  </a:lnTo>
                  <a:lnTo>
                    <a:pt x="1735" y="0"/>
                  </a:lnTo>
                  <a:close/>
                  <a:moveTo>
                    <a:pt x="1398" y="1431"/>
                  </a:moveTo>
                  <a:lnTo>
                    <a:pt x="1376" y="1430"/>
                  </a:lnTo>
                  <a:lnTo>
                    <a:pt x="1355" y="1427"/>
                  </a:lnTo>
                  <a:lnTo>
                    <a:pt x="1334" y="1421"/>
                  </a:lnTo>
                  <a:lnTo>
                    <a:pt x="1314" y="1414"/>
                  </a:lnTo>
                  <a:lnTo>
                    <a:pt x="1296" y="1404"/>
                  </a:lnTo>
                  <a:lnTo>
                    <a:pt x="1277" y="1394"/>
                  </a:lnTo>
                  <a:lnTo>
                    <a:pt x="1269" y="1387"/>
                  </a:lnTo>
                  <a:lnTo>
                    <a:pt x="1261" y="1381"/>
                  </a:lnTo>
                  <a:lnTo>
                    <a:pt x="1253" y="1375"/>
                  </a:lnTo>
                  <a:lnTo>
                    <a:pt x="1246" y="1367"/>
                  </a:lnTo>
                  <a:lnTo>
                    <a:pt x="1238" y="1360"/>
                  </a:lnTo>
                  <a:lnTo>
                    <a:pt x="1231" y="1352"/>
                  </a:lnTo>
                  <a:lnTo>
                    <a:pt x="1224" y="1344"/>
                  </a:lnTo>
                  <a:lnTo>
                    <a:pt x="1219" y="1335"/>
                  </a:lnTo>
                  <a:lnTo>
                    <a:pt x="1209" y="1317"/>
                  </a:lnTo>
                  <a:lnTo>
                    <a:pt x="1199" y="1298"/>
                  </a:lnTo>
                  <a:lnTo>
                    <a:pt x="1192" y="1279"/>
                  </a:lnTo>
                  <a:lnTo>
                    <a:pt x="1186" y="1258"/>
                  </a:lnTo>
                  <a:lnTo>
                    <a:pt x="1183" y="1236"/>
                  </a:lnTo>
                  <a:lnTo>
                    <a:pt x="1182" y="1214"/>
                  </a:lnTo>
                  <a:lnTo>
                    <a:pt x="1183" y="1192"/>
                  </a:lnTo>
                  <a:lnTo>
                    <a:pt x="1186" y="1170"/>
                  </a:lnTo>
                  <a:lnTo>
                    <a:pt x="1192" y="1149"/>
                  </a:lnTo>
                  <a:lnTo>
                    <a:pt x="1199" y="1130"/>
                  </a:lnTo>
                  <a:lnTo>
                    <a:pt x="1209" y="1111"/>
                  </a:lnTo>
                  <a:lnTo>
                    <a:pt x="1219" y="1093"/>
                  </a:lnTo>
                  <a:lnTo>
                    <a:pt x="1224" y="1084"/>
                  </a:lnTo>
                  <a:lnTo>
                    <a:pt x="1231" y="1076"/>
                  </a:lnTo>
                  <a:lnTo>
                    <a:pt x="1238" y="1068"/>
                  </a:lnTo>
                  <a:lnTo>
                    <a:pt x="1246" y="1061"/>
                  </a:lnTo>
                  <a:lnTo>
                    <a:pt x="1253" y="1053"/>
                  </a:lnTo>
                  <a:lnTo>
                    <a:pt x="1261" y="1047"/>
                  </a:lnTo>
                  <a:lnTo>
                    <a:pt x="1269" y="1041"/>
                  </a:lnTo>
                  <a:lnTo>
                    <a:pt x="1277" y="1034"/>
                  </a:lnTo>
                  <a:lnTo>
                    <a:pt x="1296" y="1024"/>
                  </a:lnTo>
                  <a:lnTo>
                    <a:pt x="1314" y="1014"/>
                  </a:lnTo>
                  <a:lnTo>
                    <a:pt x="1334" y="1007"/>
                  </a:lnTo>
                  <a:lnTo>
                    <a:pt x="1355" y="1001"/>
                  </a:lnTo>
                  <a:lnTo>
                    <a:pt x="1376" y="998"/>
                  </a:lnTo>
                  <a:lnTo>
                    <a:pt x="1398" y="997"/>
                  </a:lnTo>
                  <a:lnTo>
                    <a:pt x="1421" y="998"/>
                  </a:lnTo>
                  <a:lnTo>
                    <a:pt x="1442" y="1001"/>
                  </a:lnTo>
                  <a:lnTo>
                    <a:pt x="1462" y="1007"/>
                  </a:lnTo>
                  <a:lnTo>
                    <a:pt x="1482" y="1014"/>
                  </a:lnTo>
                  <a:lnTo>
                    <a:pt x="1501" y="1024"/>
                  </a:lnTo>
                  <a:lnTo>
                    <a:pt x="1519" y="1034"/>
                  </a:lnTo>
                  <a:lnTo>
                    <a:pt x="1528" y="1041"/>
                  </a:lnTo>
                  <a:lnTo>
                    <a:pt x="1535" y="1047"/>
                  </a:lnTo>
                  <a:lnTo>
                    <a:pt x="1544" y="1053"/>
                  </a:lnTo>
                  <a:lnTo>
                    <a:pt x="1551" y="1061"/>
                  </a:lnTo>
                  <a:lnTo>
                    <a:pt x="1558" y="1068"/>
                  </a:lnTo>
                  <a:lnTo>
                    <a:pt x="1565" y="1076"/>
                  </a:lnTo>
                  <a:lnTo>
                    <a:pt x="1571" y="1084"/>
                  </a:lnTo>
                  <a:lnTo>
                    <a:pt x="1578" y="1093"/>
                  </a:lnTo>
                  <a:lnTo>
                    <a:pt x="1588" y="1111"/>
                  </a:lnTo>
                  <a:lnTo>
                    <a:pt x="1598" y="1130"/>
                  </a:lnTo>
                  <a:lnTo>
                    <a:pt x="1604" y="1149"/>
                  </a:lnTo>
                  <a:lnTo>
                    <a:pt x="1609" y="1170"/>
                  </a:lnTo>
                  <a:lnTo>
                    <a:pt x="1614" y="1192"/>
                  </a:lnTo>
                  <a:lnTo>
                    <a:pt x="1615" y="1214"/>
                  </a:lnTo>
                  <a:lnTo>
                    <a:pt x="1614" y="1236"/>
                  </a:lnTo>
                  <a:lnTo>
                    <a:pt x="1609" y="1258"/>
                  </a:lnTo>
                  <a:lnTo>
                    <a:pt x="1604" y="1279"/>
                  </a:lnTo>
                  <a:lnTo>
                    <a:pt x="1598" y="1298"/>
                  </a:lnTo>
                  <a:lnTo>
                    <a:pt x="1588" y="1317"/>
                  </a:lnTo>
                  <a:lnTo>
                    <a:pt x="1578" y="1335"/>
                  </a:lnTo>
                  <a:lnTo>
                    <a:pt x="1571" y="1344"/>
                  </a:lnTo>
                  <a:lnTo>
                    <a:pt x="1565" y="1352"/>
                  </a:lnTo>
                  <a:lnTo>
                    <a:pt x="1558" y="1360"/>
                  </a:lnTo>
                  <a:lnTo>
                    <a:pt x="1551" y="1367"/>
                  </a:lnTo>
                  <a:lnTo>
                    <a:pt x="1544" y="1375"/>
                  </a:lnTo>
                  <a:lnTo>
                    <a:pt x="1535" y="1381"/>
                  </a:lnTo>
                  <a:lnTo>
                    <a:pt x="1528" y="1387"/>
                  </a:lnTo>
                  <a:lnTo>
                    <a:pt x="1519" y="1394"/>
                  </a:lnTo>
                  <a:lnTo>
                    <a:pt x="1501" y="1404"/>
                  </a:lnTo>
                  <a:lnTo>
                    <a:pt x="1482" y="1414"/>
                  </a:lnTo>
                  <a:lnTo>
                    <a:pt x="1462" y="1421"/>
                  </a:lnTo>
                  <a:lnTo>
                    <a:pt x="1442" y="1427"/>
                  </a:lnTo>
                  <a:lnTo>
                    <a:pt x="1421" y="1430"/>
                  </a:lnTo>
                  <a:lnTo>
                    <a:pt x="1398" y="143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</p:grpSp>
      <p:grpSp>
        <p:nvGrpSpPr>
          <p:cNvPr id="25" name="Group 34"/>
          <p:cNvGrpSpPr>
            <a:grpSpLocks noChangeAspect="1"/>
          </p:cNvGrpSpPr>
          <p:nvPr userDrawn="1"/>
        </p:nvGrpSpPr>
        <p:grpSpPr>
          <a:xfrm>
            <a:off x="10211192" y="6387198"/>
            <a:ext cx="1583997" cy="210459"/>
            <a:chOff x="934710" y="2708155"/>
            <a:chExt cx="10308163" cy="1369608"/>
          </a:xfrm>
          <a:solidFill>
            <a:srgbClr val="00985F"/>
          </a:solidFill>
        </p:grpSpPr>
        <p:sp>
          <p:nvSpPr>
            <p:cNvPr id="27" name="Freeform 6"/>
            <p:cNvSpPr>
              <a:spLocks/>
            </p:cNvSpPr>
            <p:nvPr/>
          </p:nvSpPr>
          <p:spPr bwMode="auto">
            <a:xfrm>
              <a:off x="10046261" y="2909992"/>
              <a:ext cx="1196612" cy="1153354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28" name="Freeform 7"/>
            <p:cNvSpPr>
              <a:spLocks noEditPoints="1"/>
            </p:cNvSpPr>
            <p:nvPr/>
          </p:nvSpPr>
          <p:spPr bwMode="auto">
            <a:xfrm>
              <a:off x="5086809" y="2895575"/>
              <a:ext cx="1441701" cy="1167771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29" name="Freeform 8"/>
            <p:cNvSpPr>
              <a:spLocks/>
            </p:cNvSpPr>
            <p:nvPr/>
          </p:nvSpPr>
          <p:spPr bwMode="auto">
            <a:xfrm>
              <a:off x="934710" y="2708155"/>
              <a:ext cx="1874211" cy="1369608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30" name="Freeform 9"/>
            <p:cNvSpPr>
              <a:spLocks/>
            </p:cNvSpPr>
            <p:nvPr/>
          </p:nvSpPr>
          <p:spPr bwMode="auto">
            <a:xfrm>
              <a:off x="3010760" y="2909992"/>
              <a:ext cx="1038025" cy="1153354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31" name="Freeform 10"/>
            <p:cNvSpPr>
              <a:spLocks/>
            </p:cNvSpPr>
            <p:nvPr/>
          </p:nvSpPr>
          <p:spPr bwMode="auto">
            <a:xfrm>
              <a:off x="4250623" y="2909992"/>
              <a:ext cx="1052442" cy="1153354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32" name="Freeform 11"/>
            <p:cNvSpPr>
              <a:spLocks noEditPoints="1"/>
            </p:cNvSpPr>
            <p:nvPr/>
          </p:nvSpPr>
          <p:spPr bwMode="auto">
            <a:xfrm>
              <a:off x="8503641" y="2895575"/>
              <a:ext cx="1355199" cy="1182188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33" name="Freeform 12"/>
            <p:cNvSpPr>
              <a:spLocks noEditPoints="1"/>
            </p:cNvSpPr>
            <p:nvPr/>
          </p:nvSpPr>
          <p:spPr bwMode="auto">
            <a:xfrm>
              <a:off x="6499676" y="2736989"/>
              <a:ext cx="1802126" cy="1326357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</p:grpSp>
    </p:spTree>
    <p:extLst>
      <p:ext uri="{BB962C8B-B14F-4D97-AF65-F5344CB8AC3E}">
        <p14:creationId xmlns:p14="http://schemas.microsoft.com/office/powerpoint/2010/main" val="157490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16" r:id="rId2"/>
    <p:sldLayoutId id="2147483727" r:id="rId3"/>
    <p:sldLayoutId id="2147483718" r:id="rId4"/>
    <p:sldLayoutId id="2147483711" r:id="rId5"/>
    <p:sldLayoutId id="2147483719" r:id="rId6"/>
    <p:sldLayoutId id="2147483725" r:id="rId7"/>
    <p:sldLayoutId id="2147483726" r:id="rId8"/>
    <p:sldLayoutId id="2147483735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1072892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85727" indent="-85727" algn="l" defTabSz="107289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/>
        <a:buChar char="•"/>
        <a:defRPr lang="ru-RU" sz="1200" kern="1200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anose="020B0604020202020204" pitchFamily="34" charset="0"/>
        </a:defRPr>
      </a:lvl1pPr>
      <a:lvl2pPr marL="269882" indent="-92077" algn="l" defTabSz="107289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/>
        <a:buChar char="•"/>
        <a:defRPr lang="ru-RU" sz="1200" kern="1200" baseline="0" dirty="0" smtClean="0">
          <a:solidFill>
            <a:schemeClr val="bg1">
              <a:lumMod val="50000"/>
            </a:schemeClr>
          </a:solidFill>
          <a:latin typeface="+mn-lt"/>
          <a:ea typeface="+mn-ea"/>
          <a:cs typeface="Arial" panose="020B0604020202020204" pitchFamily="34" charset="0"/>
        </a:defRPr>
      </a:lvl2pPr>
      <a:lvl3pPr marL="627079" indent="-103191" algn="l" defTabSz="107289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/>
        <a:buChar char="•"/>
        <a:defRPr lang="ru-RU" sz="1200" kern="1200" baseline="0" dirty="0" smtClean="0">
          <a:solidFill>
            <a:schemeClr val="bg1">
              <a:lumMod val="50000"/>
            </a:schemeClr>
          </a:solidFill>
          <a:latin typeface="+mn-lt"/>
          <a:ea typeface="+mn-ea"/>
          <a:cs typeface="Arial" panose="020B0604020202020204" pitchFamily="34" charset="0"/>
        </a:defRPr>
      </a:lvl3pPr>
      <a:lvl4pPr marL="989038" indent="-92077" algn="l" defTabSz="107289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/>
        <a:buChar char="•"/>
        <a:defRPr lang="ru-RU" sz="1200" kern="1200" baseline="0" dirty="0" smtClean="0">
          <a:solidFill>
            <a:schemeClr val="bg1">
              <a:lumMod val="50000"/>
            </a:schemeClr>
          </a:solidFill>
          <a:latin typeface="+mn-lt"/>
          <a:ea typeface="+mn-ea"/>
          <a:cs typeface="Arial" panose="020B0604020202020204" pitchFamily="34" charset="0"/>
        </a:defRPr>
      </a:lvl4pPr>
      <a:lvl5pPr marL="1436724" indent="-92077" algn="l" defTabSz="107289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/>
        <a:buChar char="•"/>
        <a:defRPr lang="ru-RU" sz="1200" kern="1200" baseline="0" dirty="0">
          <a:solidFill>
            <a:schemeClr val="bg1">
              <a:lumMod val="50000"/>
            </a:schemeClr>
          </a:solidFill>
          <a:latin typeface="+mn-lt"/>
          <a:ea typeface="+mn-ea"/>
          <a:cs typeface="Arial" panose="020B0604020202020204" pitchFamily="34" charset="0"/>
        </a:defRPr>
      </a:lvl5pPr>
      <a:lvl6pPr marL="2950454" indent="-268223" algn="l" defTabSz="10728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900" indent="-268223" algn="l" defTabSz="10728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346" indent="-268223" algn="l" defTabSz="10728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792" indent="-268223" algn="l" defTabSz="10728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47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92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338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85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231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677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123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569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6"/>
            </p:custDataLst>
          </p:nvPr>
        </p:nvSpPr>
        <p:spPr bwMode="auto">
          <a:xfrm>
            <a:off x="1976207" y="1990667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161985" y="27536"/>
            <a:ext cx="623569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20" dirty="0" smtClean="0">
                <a:solidFill>
                  <a:srgbClr val="808080"/>
                </a:solidFill>
              </a:rPr>
              <a:t>TRACKER</a:t>
            </a:r>
            <a:endParaRPr lang="ru-RU" sz="102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161984" y="804110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32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 userDrawn="1">
            <p:custDataLst>
              <p:tags r:id="rId9"/>
            </p:custDataLst>
          </p:nvPr>
        </p:nvGrpSpPr>
        <p:grpSpPr bwMode="auto">
          <a:xfrm>
            <a:off x="161985" y="6354268"/>
            <a:ext cx="11630454" cy="370922"/>
            <a:chOff x="75" y="3923"/>
            <a:chExt cx="5385" cy="22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3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20" dirty="0" smtClean="0">
                  <a:solidFill>
                    <a:srgbClr val="00000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ru-RU" sz="1020" dirty="0" smtClean="0">
                  <a:solidFill>
                    <a:srgbClr val="000000"/>
                  </a:solidFill>
                </a:rPr>
                <a:t>ИСТОЧНИК: источник</a:t>
              </a:r>
              <a:endParaRPr lang="ru-RU" sz="102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 userDrawn="1">
            <p:custDataLst>
              <p:tags r:id="rId10"/>
            </p:custDataLst>
          </p:nvPr>
        </p:nvGrpSpPr>
        <p:grpSpPr bwMode="auto">
          <a:xfrm>
            <a:off x="1976207" y="1137061"/>
            <a:ext cx="5801189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b="1" dirty="0" smtClean="0">
                  <a:solidFill>
                    <a:srgbClr val="00985F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 smtClean="0">
                  <a:solidFill>
                    <a:srgbClr val="808080"/>
                  </a:solidFill>
                </a:rPr>
                <a:t>Unit of measure</a:t>
              </a:r>
              <a:endParaRPr lang="ru-RU" sz="1632" dirty="0">
                <a:solidFill>
                  <a:srgbClr val="808080"/>
                </a:solidFill>
              </a:endParaRPr>
            </a:p>
          </p:txBody>
        </p:sp>
      </p:grpSp>
      <p:cxnSp>
        <p:nvCxnSpPr>
          <p:cNvPr id="25" name="Straight Connector 24"/>
          <p:cNvCxnSpPr>
            <a:cxnSpLocks/>
          </p:cNvCxnSpPr>
          <p:nvPr userDrawn="1"/>
        </p:nvCxnSpPr>
        <p:spPr bwMode="auto">
          <a:xfrm>
            <a:off x="0" y="770778"/>
            <a:ext cx="12192000" cy="0"/>
          </a:xfrm>
          <a:prstGeom prst="line">
            <a:avLst/>
          </a:prstGeom>
          <a:ln w="12700"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Working Draft" hidden="1"/>
          <p:cNvSpPr txBox="1"/>
          <p:nvPr userDrawn="1"/>
        </p:nvSpPr>
        <p:spPr>
          <a:xfrm rot="5400000">
            <a:off x="10809813" y="2592537"/>
            <a:ext cx="2591592" cy="18652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612" smtClean="0">
                <a:solidFill>
                  <a:srgbClr val="808080"/>
                </a:solidFill>
              </a:rPr>
              <a:t>Last Modified 03.04.2017 19:21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5" name="Printed" hidden="1"/>
          <p:cNvSpPr txBox="1"/>
          <p:nvPr userDrawn="1"/>
        </p:nvSpPr>
        <p:spPr>
          <a:xfrm rot="5400000">
            <a:off x="11457711" y="4489136"/>
            <a:ext cx="1295796" cy="28071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612" smtClean="0">
                <a:solidFill>
                  <a:srgbClr val="808080"/>
                </a:solidFill>
              </a:rPr>
              <a:t>Printed 23.12.2016 14:34 Russia TZ 2 Standard Time</a:t>
            </a:r>
            <a:endParaRPr lang="ru-RU" sz="612">
              <a:solidFill>
                <a:srgbClr val="808080"/>
              </a:solidFill>
            </a:endParaRPr>
          </a:p>
        </p:txBody>
      </p:sp>
      <p:grpSp>
        <p:nvGrpSpPr>
          <p:cNvPr id="27" name="Group 16"/>
          <p:cNvGrpSpPr>
            <a:grpSpLocks noChangeAspect="1"/>
          </p:cNvGrpSpPr>
          <p:nvPr userDrawn="1"/>
        </p:nvGrpSpPr>
        <p:grpSpPr>
          <a:xfrm>
            <a:off x="11363104" y="190459"/>
            <a:ext cx="432085" cy="433584"/>
            <a:chOff x="5176838" y="2511426"/>
            <a:chExt cx="1830388" cy="1836737"/>
          </a:xfrm>
          <a:solidFill>
            <a:srgbClr val="00985F"/>
          </a:solidFill>
        </p:grpSpPr>
        <p:sp>
          <p:nvSpPr>
            <p:cNvPr id="35" name="Freeform 6"/>
            <p:cNvSpPr>
              <a:spLocks noEditPoints="1"/>
            </p:cNvSpPr>
            <p:nvPr/>
          </p:nvSpPr>
          <p:spPr bwMode="auto">
            <a:xfrm>
              <a:off x="6008688" y="2519363"/>
              <a:ext cx="998538" cy="1828800"/>
            </a:xfrm>
            <a:custGeom>
              <a:avLst/>
              <a:gdLst>
                <a:gd name="T0" fmla="*/ 373 w 1888"/>
                <a:gd name="T1" fmla="*/ 1790 h 3457"/>
                <a:gd name="T2" fmla="*/ 372 w 1888"/>
                <a:gd name="T3" fmla="*/ 1790 h 3457"/>
                <a:gd name="T4" fmla="*/ 372 w 1888"/>
                <a:gd name="T5" fmla="*/ 1790 h 3457"/>
                <a:gd name="T6" fmla="*/ 372 w 1888"/>
                <a:gd name="T7" fmla="*/ 1790 h 3457"/>
                <a:gd name="T8" fmla="*/ 283 w 1888"/>
                <a:gd name="T9" fmla="*/ 1921 h 3457"/>
                <a:gd name="T10" fmla="*/ 15 w 1888"/>
                <a:gd name="T11" fmla="*/ 1931 h 3457"/>
                <a:gd name="T12" fmla="*/ 0 w 1888"/>
                <a:gd name="T13" fmla="*/ 1950 h 3457"/>
                <a:gd name="T14" fmla="*/ 336 w 1888"/>
                <a:gd name="T15" fmla="*/ 3447 h 3457"/>
                <a:gd name="T16" fmla="*/ 633 w 1888"/>
                <a:gd name="T17" fmla="*/ 3391 h 3457"/>
                <a:gd name="T18" fmla="*/ 910 w 1888"/>
                <a:gd name="T19" fmla="*/ 3286 h 3457"/>
                <a:gd name="T20" fmla="*/ 1161 w 1888"/>
                <a:gd name="T21" fmla="*/ 3137 h 3457"/>
                <a:gd name="T22" fmla="*/ 1382 w 1888"/>
                <a:gd name="T23" fmla="*/ 2949 h 3457"/>
                <a:gd name="T24" fmla="*/ 1570 w 1888"/>
                <a:gd name="T25" fmla="*/ 2726 h 3457"/>
                <a:gd name="T26" fmla="*/ 1719 w 1888"/>
                <a:gd name="T27" fmla="*/ 2474 h 3457"/>
                <a:gd name="T28" fmla="*/ 1822 w 1888"/>
                <a:gd name="T29" fmla="*/ 2197 h 3457"/>
                <a:gd name="T30" fmla="*/ 1880 w 1888"/>
                <a:gd name="T31" fmla="*/ 1900 h 3457"/>
                <a:gd name="T32" fmla="*/ 1884 w 1888"/>
                <a:gd name="T33" fmla="*/ 1599 h 3457"/>
                <a:gd name="T34" fmla="*/ 1842 w 1888"/>
                <a:gd name="T35" fmla="*/ 1320 h 3457"/>
                <a:gd name="T36" fmla="*/ 1758 w 1888"/>
                <a:gd name="T37" fmla="*/ 1058 h 3457"/>
                <a:gd name="T38" fmla="*/ 1635 w 1888"/>
                <a:gd name="T39" fmla="*/ 816 h 3457"/>
                <a:gd name="T40" fmla="*/ 1477 w 1888"/>
                <a:gd name="T41" fmla="*/ 598 h 3457"/>
                <a:gd name="T42" fmla="*/ 1287 w 1888"/>
                <a:gd name="T43" fmla="*/ 407 h 3457"/>
                <a:gd name="T44" fmla="*/ 1071 w 1888"/>
                <a:gd name="T45" fmla="*/ 247 h 3457"/>
                <a:gd name="T46" fmla="*/ 830 w 1888"/>
                <a:gd name="T47" fmla="*/ 122 h 3457"/>
                <a:gd name="T48" fmla="*/ 569 w 1888"/>
                <a:gd name="T49" fmla="*/ 36 h 3457"/>
                <a:gd name="T50" fmla="*/ 337 w 1888"/>
                <a:gd name="T51" fmla="*/ 2668 h 3457"/>
                <a:gd name="T52" fmla="*/ 209 w 1888"/>
                <a:gd name="T53" fmla="*/ 2625 h 3457"/>
                <a:gd name="T54" fmla="*/ 158 w 1888"/>
                <a:gd name="T55" fmla="*/ 2573 h 3457"/>
                <a:gd name="T56" fmla="*/ 123 w 1888"/>
                <a:gd name="T57" fmla="*/ 2429 h 3457"/>
                <a:gd name="T58" fmla="*/ 171 w 1888"/>
                <a:gd name="T59" fmla="*/ 2314 h 3457"/>
                <a:gd name="T60" fmla="*/ 234 w 1888"/>
                <a:gd name="T61" fmla="*/ 2260 h 3457"/>
                <a:gd name="T62" fmla="*/ 382 w 1888"/>
                <a:gd name="T63" fmla="*/ 2239 h 3457"/>
                <a:gd name="T64" fmla="*/ 484 w 1888"/>
                <a:gd name="T65" fmla="*/ 2291 h 3457"/>
                <a:gd name="T66" fmla="*/ 538 w 1888"/>
                <a:gd name="T67" fmla="*/ 2367 h 3457"/>
                <a:gd name="T68" fmla="*/ 545 w 1888"/>
                <a:gd name="T69" fmla="*/ 2516 h 3457"/>
                <a:gd name="T70" fmla="*/ 491 w 1888"/>
                <a:gd name="T71" fmla="*/ 2605 h 3457"/>
                <a:gd name="T72" fmla="*/ 402 w 1888"/>
                <a:gd name="T73" fmla="*/ 2658 h 3457"/>
                <a:gd name="T74" fmla="*/ 780 w 1888"/>
                <a:gd name="T75" fmla="*/ 2658 h 3457"/>
                <a:gd name="T76" fmla="*/ 692 w 1888"/>
                <a:gd name="T77" fmla="*/ 2605 h 3457"/>
                <a:gd name="T78" fmla="*/ 638 w 1888"/>
                <a:gd name="T79" fmla="*/ 2516 h 3457"/>
                <a:gd name="T80" fmla="*/ 646 w 1888"/>
                <a:gd name="T81" fmla="*/ 2367 h 3457"/>
                <a:gd name="T82" fmla="*/ 700 w 1888"/>
                <a:gd name="T83" fmla="*/ 2291 h 3457"/>
                <a:gd name="T84" fmla="*/ 802 w 1888"/>
                <a:gd name="T85" fmla="*/ 2239 h 3457"/>
                <a:gd name="T86" fmla="*/ 948 w 1888"/>
                <a:gd name="T87" fmla="*/ 2260 h 3457"/>
                <a:gd name="T88" fmla="*/ 1011 w 1888"/>
                <a:gd name="T89" fmla="*/ 2314 h 3457"/>
                <a:gd name="T90" fmla="*/ 1059 w 1888"/>
                <a:gd name="T91" fmla="*/ 2429 h 3457"/>
                <a:gd name="T92" fmla="*/ 1024 w 1888"/>
                <a:gd name="T93" fmla="*/ 2573 h 3457"/>
                <a:gd name="T94" fmla="*/ 973 w 1888"/>
                <a:gd name="T95" fmla="*/ 2625 h 3457"/>
                <a:gd name="T96" fmla="*/ 844 w 1888"/>
                <a:gd name="T97" fmla="*/ 2668 h 3457"/>
                <a:gd name="T98" fmla="*/ 1230 w 1888"/>
                <a:gd name="T99" fmla="*/ 2632 h 3457"/>
                <a:gd name="T100" fmla="*/ 1178 w 1888"/>
                <a:gd name="T101" fmla="*/ 2582 h 3457"/>
                <a:gd name="T102" fmla="*/ 1135 w 1888"/>
                <a:gd name="T103" fmla="*/ 2452 h 3457"/>
                <a:gd name="T104" fmla="*/ 1178 w 1888"/>
                <a:gd name="T105" fmla="*/ 2322 h 3457"/>
                <a:gd name="T106" fmla="*/ 1230 w 1888"/>
                <a:gd name="T107" fmla="*/ 2272 h 3457"/>
                <a:gd name="T108" fmla="*/ 1373 w 1888"/>
                <a:gd name="T109" fmla="*/ 2236 h 3457"/>
                <a:gd name="T110" fmla="*/ 1488 w 1888"/>
                <a:gd name="T111" fmla="*/ 2284 h 3457"/>
                <a:gd name="T112" fmla="*/ 1542 w 1888"/>
                <a:gd name="T113" fmla="*/ 2349 h 3457"/>
                <a:gd name="T114" fmla="*/ 1563 w 1888"/>
                <a:gd name="T115" fmla="*/ 2495 h 3457"/>
                <a:gd name="T116" fmla="*/ 1511 w 1888"/>
                <a:gd name="T117" fmla="*/ 2598 h 3457"/>
                <a:gd name="T118" fmla="*/ 1435 w 1888"/>
                <a:gd name="T119" fmla="*/ 2651 h 3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88" h="3457">
                  <a:moveTo>
                    <a:pt x="373" y="1790"/>
                  </a:move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0" y="1815"/>
                  </a:lnTo>
                  <a:lnTo>
                    <a:pt x="364" y="1838"/>
                  </a:lnTo>
                  <a:lnTo>
                    <a:pt x="353" y="1859"/>
                  </a:lnTo>
                  <a:lnTo>
                    <a:pt x="340" y="1878"/>
                  </a:lnTo>
                  <a:lnTo>
                    <a:pt x="323" y="1896"/>
                  </a:lnTo>
                  <a:lnTo>
                    <a:pt x="304" y="1910"/>
                  </a:lnTo>
                  <a:lnTo>
                    <a:pt x="283" y="1921"/>
                  </a:lnTo>
                  <a:lnTo>
                    <a:pt x="260" y="1927"/>
                  </a:lnTo>
                  <a:lnTo>
                    <a:pt x="241" y="1931"/>
                  </a:lnTo>
                  <a:lnTo>
                    <a:pt x="221" y="1931"/>
                  </a:lnTo>
                  <a:lnTo>
                    <a:pt x="202" y="1931"/>
                  </a:lnTo>
                  <a:lnTo>
                    <a:pt x="182" y="1931"/>
                  </a:lnTo>
                  <a:lnTo>
                    <a:pt x="19" y="1931"/>
                  </a:lnTo>
                  <a:lnTo>
                    <a:pt x="15" y="1931"/>
                  </a:lnTo>
                  <a:lnTo>
                    <a:pt x="12" y="1932"/>
                  </a:lnTo>
                  <a:lnTo>
                    <a:pt x="9" y="1934"/>
                  </a:lnTo>
                  <a:lnTo>
                    <a:pt x="5" y="1936"/>
                  </a:lnTo>
                  <a:lnTo>
                    <a:pt x="3" y="1939"/>
                  </a:lnTo>
                  <a:lnTo>
                    <a:pt x="1" y="1942"/>
                  </a:lnTo>
                  <a:lnTo>
                    <a:pt x="0" y="1945"/>
                  </a:lnTo>
                  <a:lnTo>
                    <a:pt x="0" y="1950"/>
                  </a:lnTo>
                  <a:lnTo>
                    <a:pt x="0" y="3449"/>
                  </a:lnTo>
                  <a:lnTo>
                    <a:pt x="80" y="3455"/>
                  </a:lnTo>
                  <a:lnTo>
                    <a:pt x="159" y="3457"/>
                  </a:lnTo>
                  <a:lnTo>
                    <a:pt x="205" y="3456"/>
                  </a:lnTo>
                  <a:lnTo>
                    <a:pt x="248" y="3455"/>
                  </a:lnTo>
                  <a:lnTo>
                    <a:pt x="293" y="3452"/>
                  </a:lnTo>
                  <a:lnTo>
                    <a:pt x="336" y="3447"/>
                  </a:lnTo>
                  <a:lnTo>
                    <a:pt x="380" y="3443"/>
                  </a:lnTo>
                  <a:lnTo>
                    <a:pt x="423" y="3437"/>
                  </a:lnTo>
                  <a:lnTo>
                    <a:pt x="465" y="3429"/>
                  </a:lnTo>
                  <a:lnTo>
                    <a:pt x="508" y="3422"/>
                  </a:lnTo>
                  <a:lnTo>
                    <a:pt x="550" y="3412"/>
                  </a:lnTo>
                  <a:lnTo>
                    <a:pt x="592" y="3403"/>
                  </a:lnTo>
                  <a:lnTo>
                    <a:pt x="633" y="3391"/>
                  </a:lnTo>
                  <a:lnTo>
                    <a:pt x="673" y="3379"/>
                  </a:lnTo>
                  <a:lnTo>
                    <a:pt x="715" y="3365"/>
                  </a:lnTo>
                  <a:lnTo>
                    <a:pt x="754" y="3352"/>
                  </a:lnTo>
                  <a:lnTo>
                    <a:pt x="794" y="3337"/>
                  </a:lnTo>
                  <a:lnTo>
                    <a:pt x="832" y="3321"/>
                  </a:lnTo>
                  <a:lnTo>
                    <a:pt x="872" y="3304"/>
                  </a:lnTo>
                  <a:lnTo>
                    <a:pt x="910" y="3286"/>
                  </a:lnTo>
                  <a:lnTo>
                    <a:pt x="947" y="3267"/>
                  </a:lnTo>
                  <a:lnTo>
                    <a:pt x="984" y="3247"/>
                  </a:lnTo>
                  <a:lnTo>
                    <a:pt x="1020" y="3227"/>
                  </a:lnTo>
                  <a:lnTo>
                    <a:pt x="1056" y="3206"/>
                  </a:lnTo>
                  <a:lnTo>
                    <a:pt x="1092" y="3184"/>
                  </a:lnTo>
                  <a:lnTo>
                    <a:pt x="1126" y="3160"/>
                  </a:lnTo>
                  <a:lnTo>
                    <a:pt x="1161" y="3137"/>
                  </a:lnTo>
                  <a:lnTo>
                    <a:pt x="1194" y="3112"/>
                  </a:lnTo>
                  <a:lnTo>
                    <a:pt x="1227" y="3087"/>
                  </a:lnTo>
                  <a:lnTo>
                    <a:pt x="1260" y="3060"/>
                  </a:lnTo>
                  <a:lnTo>
                    <a:pt x="1291" y="3034"/>
                  </a:lnTo>
                  <a:lnTo>
                    <a:pt x="1322" y="3006"/>
                  </a:lnTo>
                  <a:lnTo>
                    <a:pt x="1353" y="2977"/>
                  </a:lnTo>
                  <a:lnTo>
                    <a:pt x="1382" y="2949"/>
                  </a:lnTo>
                  <a:lnTo>
                    <a:pt x="1411" y="2919"/>
                  </a:lnTo>
                  <a:lnTo>
                    <a:pt x="1440" y="2889"/>
                  </a:lnTo>
                  <a:lnTo>
                    <a:pt x="1467" y="2857"/>
                  </a:lnTo>
                  <a:lnTo>
                    <a:pt x="1494" y="2825"/>
                  </a:lnTo>
                  <a:lnTo>
                    <a:pt x="1520" y="2793"/>
                  </a:lnTo>
                  <a:lnTo>
                    <a:pt x="1545" y="2760"/>
                  </a:lnTo>
                  <a:lnTo>
                    <a:pt x="1570" y="2726"/>
                  </a:lnTo>
                  <a:lnTo>
                    <a:pt x="1593" y="2692"/>
                  </a:lnTo>
                  <a:lnTo>
                    <a:pt x="1616" y="2657"/>
                  </a:lnTo>
                  <a:lnTo>
                    <a:pt x="1638" y="2622"/>
                  </a:lnTo>
                  <a:lnTo>
                    <a:pt x="1659" y="2586"/>
                  </a:lnTo>
                  <a:lnTo>
                    <a:pt x="1680" y="2549"/>
                  </a:lnTo>
                  <a:lnTo>
                    <a:pt x="1699" y="2511"/>
                  </a:lnTo>
                  <a:lnTo>
                    <a:pt x="1719" y="2474"/>
                  </a:lnTo>
                  <a:lnTo>
                    <a:pt x="1736" y="2436"/>
                  </a:lnTo>
                  <a:lnTo>
                    <a:pt x="1752" y="2398"/>
                  </a:lnTo>
                  <a:lnTo>
                    <a:pt x="1768" y="2358"/>
                  </a:lnTo>
                  <a:lnTo>
                    <a:pt x="1783" y="2319"/>
                  </a:lnTo>
                  <a:lnTo>
                    <a:pt x="1798" y="2278"/>
                  </a:lnTo>
                  <a:lnTo>
                    <a:pt x="1811" y="2238"/>
                  </a:lnTo>
                  <a:lnTo>
                    <a:pt x="1822" y="2197"/>
                  </a:lnTo>
                  <a:lnTo>
                    <a:pt x="1834" y="2155"/>
                  </a:lnTo>
                  <a:lnTo>
                    <a:pt x="1845" y="2114"/>
                  </a:lnTo>
                  <a:lnTo>
                    <a:pt x="1853" y="2072"/>
                  </a:lnTo>
                  <a:lnTo>
                    <a:pt x="1862" y="2030"/>
                  </a:lnTo>
                  <a:lnTo>
                    <a:pt x="1869" y="1986"/>
                  </a:lnTo>
                  <a:lnTo>
                    <a:pt x="1874" y="1943"/>
                  </a:lnTo>
                  <a:lnTo>
                    <a:pt x="1880" y="1900"/>
                  </a:lnTo>
                  <a:lnTo>
                    <a:pt x="1884" y="1855"/>
                  </a:lnTo>
                  <a:lnTo>
                    <a:pt x="1886" y="1811"/>
                  </a:lnTo>
                  <a:lnTo>
                    <a:pt x="1888" y="1767"/>
                  </a:lnTo>
                  <a:lnTo>
                    <a:pt x="1888" y="1722"/>
                  </a:lnTo>
                  <a:lnTo>
                    <a:pt x="1888" y="1681"/>
                  </a:lnTo>
                  <a:lnTo>
                    <a:pt x="1887" y="1639"/>
                  </a:lnTo>
                  <a:lnTo>
                    <a:pt x="1884" y="1599"/>
                  </a:lnTo>
                  <a:lnTo>
                    <a:pt x="1881" y="1558"/>
                  </a:lnTo>
                  <a:lnTo>
                    <a:pt x="1876" y="1518"/>
                  </a:lnTo>
                  <a:lnTo>
                    <a:pt x="1871" y="1477"/>
                  </a:lnTo>
                  <a:lnTo>
                    <a:pt x="1866" y="1438"/>
                  </a:lnTo>
                  <a:lnTo>
                    <a:pt x="1858" y="1398"/>
                  </a:lnTo>
                  <a:lnTo>
                    <a:pt x="1851" y="1359"/>
                  </a:lnTo>
                  <a:lnTo>
                    <a:pt x="1842" y="1320"/>
                  </a:lnTo>
                  <a:lnTo>
                    <a:pt x="1832" y="1282"/>
                  </a:lnTo>
                  <a:lnTo>
                    <a:pt x="1821" y="1243"/>
                  </a:lnTo>
                  <a:lnTo>
                    <a:pt x="1811" y="1205"/>
                  </a:lnTo>
                  <a:lnTo>
                    <a:pt x="1798" y="1168"/>
                  </a:lnTo>
                  <a:lnTo>
                    <a:pt x="1785" y="1131"/>
                  </a:lnTo>
                  <a:lnTo>
                    <a:pt x="1772" y="1095"/>
                  </a:lnTo>
                  <a:lnTo>
                    <a:pt x="1758" y="1058"/>
                  </a:lnTo>
                  <a:lnTo>
                    <a:pt x="1742" y="1022"/>
                  </a:lnTo>
                  <a:lnTo>
                    <a:pt x="1726" y="987"/>
                  </a:lnTo>
                  <a:lnTo>
                    <a:pt x="1709" y="952"/>
                  </a:lnTo>
                  <a:lnTo>
                    <a:pt x="1691" y="917"/>
                  </a:lnTo>
                  <a:lnTo>
                    <a:pt x="1673" y="883"/>
                  </a:lnTo>
                  <a:lnTo>
                    <a:pt x="1654" y="849"/>
                  </a:lnTo>
                  <a:lnTo>
                    <a:pt x="1635" y="816"/>
                  </a:lnTo>
                  <a:lnTo>
                    <a:pt x="1614" y="783"/>
                  </a:lnTo>
                  <a:lnTo>
                    <a:pt x="1592" y="751"/>
                  </a:lnTo>
                  <a:lnTo>
                    <a:pt x="1570" y="719"/>
                  </a:lnTo>
                  <a:lnTo>
                    <a:pt x="1548" y="688"/>
                  </a:lnTo>
                  <a:lnTo>
                    <a:pt x="1525" y="657"/>
                  </a:lnTo>
                  <a:lnTo>
                    <a:pt x="1501" y="628"/>
                  </a:lnTo>
                  <a:lnTo>
                    <a:pt x="1477" y="598"/>
                  </a:lnTo>
                  <a:lnTo>
                    <a:pt x="1451" y="569"/>
                  </a:lnTo>
                  <a:lnTo>
                    <a:pt x="1425" y="540"/>
                  </a:lnTo>
                  <a:lnTo>
                    <a:pt x="1398" y="513"/>
                  </a:lnTo>
                  <a:lnTo>
                    <a:pt x="1372" y="485"/>
                  </a:lnTo>
                  <a:lnTo>
                    <a:pt x="1344" y="459"/>
                  </a:lnTo>
                  <a:lnTo>
                    <a:pt x="1316" y="432"/>
                  </a:lnTo>
                  <a:lnTo>
                    <a:pt x="1287" y="407"/>
                  </a:lnTo>
                  <a:lnTo>
                    <a:pt x="1257" y="382"/>
                  </a:lnTo>
                  <a:lnTo>
                    <a:pt x="1228" y="359"/>
                  </a:lnTo>
                  <a:lnTo>
                    <a:pt x="1197" y="334"/>
                  </a:lnTo>
                  <a:lnTo>
                    <a:pt x="1166" y="312"/>
                  </a:lnTo>
                  <a:lnTo>
                    <a:pt x="1135" y="289"/>
                  </a:lnTo>
                  <a:lnTo>
                    <a:pt x="1103" y="268"/>
                  </a:lnTo>
                  <a:lnTo>
                    <a:pt x="1071" y="247"/>
                  </a:lnTo>
                  <a:lnTo>
                    <a:pt x="1038" y="228"/>
                  </a:lnTo>
                  <a:lnTo>
                    <a:pt x="1004" y="208"/>
                  </a:lnTo>
                  <a:lnTo>
                    <a:pt x="970" y="189"/>
                  </a:lnTo>
                  <a:lnTo>
                    <a:pt x="936" y="171"/>
                  </a:lnTo>
                  <a:lnTo>
                    <a:pt x="901" y="154"/>
                  </a:lnTo>
                  <a:lnTo>
                    <a:pt x="866" y="138"/>
                  </a:lnTo>
                  <a:lnTo>
                    <a:pt x="830" y="122"/>
                  </a:lnTo>
                  <a:lnTo>
                    <a:pt x="794" y="108"/>
                  </a:lnTo>
                  <a:lnTo>
                    <a:pt x="757" y="94"/>
                  </a:lnTo>
                  <a:lnTo>
                    <a:pt x="721" y="81"/>
                  </a:lnTo>
                  <a:lnTo>
                    <a:pt x="684" y="68"/>
                  </a:lnTo>
                  <a:lnTo>
                    <a:pt x="646" y="56"/>
                  </a:lnTo>
                  <a:lnTo>
                    <a:pt x="608" y="46"/>
                  </a:lnTo>
                  <a:lnTo>
                    <a:pt x="569" y="36"/>
                  </a:lnTo>
                  <a:lnTo>
                    <a:pt x="531" y="28"/>
                  </a:lnTo>
                  <a:lnTo>
                    <a:pt x="492" y="19"/>
                  </a:lnTo>
                  <a:lnTo>
                    <a:pt x="453" y="12"/>
                  </a:lnTo>
                  <a:lnTo>
                    <a:pt x="412" y="5"/>
                  </a:lnTo>
                  <a:lnTo>
                    <a:pt x="373" y="0"/>
                  </a:lnTo>
                  <a:lnTo>
                    <a:pt x="373" y="1790"/>
                  </a:lnTo>
                  <a:close/>
                  <a:moveTo>
                    <a:pt x="337" y="2668"/>
                  </a:moveTo>
                  <a:lnTo>
                    <a:pt x="316" y="2667"/>
                  </a:lnTo>
                  <a:lnTo>
                    <a:pt x="294" y="2663"/>
                  </a:lnTo>
                  <a:lnTo>
                    <a:pt x="274" y="2658"/>
                  </a:lnTo>
                  <a:lnTo>
                    <a:pt x="253" y="2651"/>
                  </a:lnTo>
                  <a:lnTo>
                    <a:pt x="234" y="2642"/>
                  </a:lnTo>
                  <a:lnTo>
                    <a:pt x="217" y="2632"/>
                  </a:lnTo>
                  <a:lnTo>
                    <a:pt x="209" y="2625"/>
                  </a:lnTo>
                  <a:lnTo>
                    <a:pt x="200" y="2619"/>
                  </a:lnTo>
                  <a:lnTo>
                    <a:pt x="192" y="2612"/>
                  </a:lnTo>
                  <a:lnTo>
                    <a:pt x="185" y="2605"/>
                  </a:lnTo>
                  <a:lnTo>
                    <a:pt x="178" y="2598"/>
                  </a:lnTo>
                  <a:lnTo>
                    <a:pt x="171" y="2589"/>
                  </a:lnTo>
                  <a:lnTo>
                    <a:pt x="164" y="2582"/>
                  </a:lnTo>
                  <a:lnTo>
                    <a:pt x="158" y="2573"/>
                  </a:lnTo>
                  <a:lnTo>
                    <a:pt x="147" y="2555"/>
                  </a:lnTo>
                  <a:lnTo>
                    <a:pt x="139" y="2536"/>
                  </a:lnTo>
                  <a:lnTo>
                    <a:pt x="132" y="2516"/>
                  </a:lnTo>
                  <a:lnTo>
                    <a:pt x="126" y="2495"/>
                  </a:lnTo>
                  <a:lnTo>
                    <a:pt x="123" y="2474"/>
                  </a:lnTo>
                  <a:lnTo>
                    <a:pt x="122" y="2452"/>
                  </a:lnTo>
                  <a:lnTo>
                    <a:pt x="123" y="2429"/>
                  </a:lnTo>
                  <a:lnTo>
                    <a:pt x="126" y="2408"/>
                  </a:lnTo>
                  <a:lnTo>
                    <a:pt x="132" y="2387"/>
                  </a:lnTo>
                  <a:lnTo>
                    <a:pt x="139" y="2367"/>
                  </a:lnTo>
                  <a:lnTo>
                    <a:pt x="147" y="2349"/>
                  </a:lnTo>
                  <a:lnTo>
                    <a:pt x="158" y="2331"/>
                  </a:lnTo>
                  <a:lnTo>
                    <a:pt x="164" y="2322"/>
                  </a:lnTo>
                  <a:lnTo>
                    <a:pt x="171" y="2314"/>
                  </a:lnTo>
                  <a:lnTo>
                    <a:pt x="178" y="2306"/>
                  </a:lnTo>
                  <a:lnTo>
                    <a:pt x="185" y="2299"/>
                  </a:lnTo>
                  <a:lnTo>
                    <a:pt x="192" y="2291"/>
                  </a:lnTo>
                  <a:lnTo>
                    <a:pt x="200" y="2284"/>
                  </a:lnTo>
                  <a:lnTo>
                    <a:pt x="209" y="2277"/>
                  </a:lnTo>
                  <a:lnTo>
                    <a:pt x="217" y="2272"/>
                  </a:lnTo>
                  <a:lnTo>
                    <a:pt x="234" y="2260"/>
                  </a:lnTo>
                  <a:lnTo>
                    <a:pt x="253" y="2252"/>
                  </a:lnTo>
                  <a:lnTo>
                    <a:pt x="274" y="2244"/>
                  </a:lnTo>
                  <a:lnTo>
                    <a:pt x="294" y="2239"/>
                  </a:lnTo>
                  <a:lnTo>
                    <a:pt x="316" y="2236"/>
                  </a:lnTo>
                  <a:lnTo>
                    <a:pt x="337" y="2235"/>
                  </a:lnTo>
                  <a:lnTo>
                    <a:pt x="359" y="2236"/>
                  </a:lnTo>
                  <a:lnTo>
                    <a:pt x="382" y="2239"/>
                  </a:lnTo>
                  <a:lnTo>
                    <a:pt x="402" y="2244"/>
                  </a:lnTo>
                  <a:lnTo>
                    <a:pt x="422" y="2252"/>
                  </a:lnTo>
                  <a:lnTo>
                    <a:pt x="441" y="2260"/>
                  </a:lnTo>
                  <a:lnTo>
                    <a:pt x="459" y="2272"/>
                  </a:lnTo>
                  <a:lnTo>
                    <a:pt x="468" y="2277"/>
                  </a:lnTo>
                  <a:lnTo>
                    <a:pt x="476" y="2284"/>
                  </a:lnTo>
                  <a:lnTo>
                    <a:pt x="484" y="2291"/>
                  </a:lnTo>
                  <a:lnTo>
                    <a:pt x="491" y="2299"/>
                  </a:lnTo>
                  <a:lnTo>
                    <a:pt x="498" y="2306"/>
                  </a:lnTo>
                  <a:lnTo>
                    <a:pt x="505" y="2314"/>
                  </a:lnTo>
                  <a:lnTo>
                    <a:pt x="511" y="2322"/>
                  </a:lnTo>
                  <a:lnTo>
                    <a:pt x="517" y="2331"/>
                  </a:lnTo>
                  <a:lnTo>
                    <a:pt x="528" y="2349"/>
                  </a:lnTo>
                  <a:lnTo>
                    <a:pt x="538" y="2367"/>
                  </a:lnTo>
                  <a:lnTo>
                    <a:pt x="545" y="2387"/>
                  </a:lnTo>
                  <a:lnTo>
                    <a:pt x="550" y="2408"/>
                  </a:lnTo>
                  <a:lnTo>
                    <a:pt x="553" y="2429"/>
                  </a:lnTo>
                  <a:lnTo>
                    <a:pt x="555" y="2452"/>
                  </a:lnTo>
                  <a:lnTo>
                    <a:pt x="553" y="2474"/>
                  </a:lnTo>
                  <a:lnTo>
                    <a:pt x="550" y="2495"/>
                  </a:lnTo>
                  <a:lnTo>
                    <a:pt x="545" y="2516"/>
                  </a:lnTo>
                  <a:lnTo>
                    <a:pt x="538" y="2536"/>
                  </a:lnTo>
                  <a:lnTo>
                    <a:pt x="528" y="2555"/>
                  </a:lnTo>
                  <a:lnTo>
                    <a:pt x="517" y="2573"/>
                  </a:lnTo>
                  <a:lnTo>
                    <a:pt x="511" y="2582"/>
                  </a:lnTo>
                  <a:lnTo>
                    <a:pt x="505" y="2589"/>
                  </a:lnTo>
                  <a:lnTo>
                    <a:pt x="498" y="2598"/>
                  </a:lnTo>
                  <a:lnTo>
                    <a:pt x="491" y="2605"/>
                  </a:lnTo>
                  <a:lnTo>
                    <a:pt x="484" y="2612"/>
                  </a:lnTo>
                  <a:lnTo>
                    <a:pt x="476" y="2619"/>
                  </a:lnTo>
                  <a:lnTo>
                    <a:pt x="468" y="2625"/>
                  </a:lnTo>
                  <a:lnTo>
                    <a:pt x="459" y="2632"/>
                  </a:lnTo>
                  <a:lnTo>
                    <a:pt x="441" y="2642"/>
                  </a:lnTo>
                  <a:lnTo>
                    <a:pt x="422" y="2651"/>
                  </a:lnTo>
                  <a:lnTo>
                    <a:pt x="402" y="2658"/>
                  </a:lnTo>
                  <a:lnTo>
                    <a:pt x="382" y="2663"/>
                  </a:lnTo>
                  <a:lnTo>
                    <a:pt x="359" y="2667"/>
                  </a:lnTo>
                  <a:lnTo>
                    <a:pt x="337" y="2668"/>
                  </a:lnTo>
                  <a:close/>
                  <a:moveTo>
                    <a:pt x="844" y="2668"/>
                  </a:moveTo>
                  <a:lnTo>
                    <a:pt x="823" y="2667"/>
                  </a:lnTo>
                  <a:lnTo>
                    <a:pt x="802" y="2663"/>
                  </a:lnTo>
                  <a:lnTo>
                    <a:pt x="780" y="2658"/>
                  </a:lnTo>
                  <a:lnTo>
                    <a:pt x="760" y="2651"/>
                  </a:lnTo>
                  <a:lnTo>
                    <a:pt x="742" y="2642"/>
                  </a:lnTo>
                  <a:lnTo>
                    <a:pt x="724" y="2632"/>
                  </a:lnTo>
                  <a:lnTo>
                    <a:pt x="716" y="2625"/>
                  </a:lnTo>
                  <a:lnTo>
                    <a:pt x="707" y="2619"/>
                  </a:lnTo>
                  <a:lnTo>
                    <a:pt x="700" y="2612"/>
                  </a:lnTo>
                  <a:lnTo>
                    <a:pt x="692" y="2605"/>
                  </a:lnTo>
                  <a:lnTo>
                    <a:pt x="685" y="2598"/>
                  </a:lnTo>
                  <a:lnTo>
                    <a:pt x="678" y="2589"/>
                  </a:lnTo>
                  <a:lnTo>
                    <a:pt x="671" y="2582"/>
                  </a:lnTo>
                  <a:lnTo>
                    <a:pt x="666" y="2573"/>
                  </a:lnTo>
                  <a:lnTo>
                    <a:pt x="654" y="2555"/>
                  </a:lnTo>
                  <a:lnTo>
                    <a:pt x="646" y="2536"/>
                  </a:lnTo>
                  <a:lnTo>
                    <a:pt x="638" y="2516"/>
                  </a:lnTo>
                  <a:lnTo>
                    <a:pt x="633" y="2495"/>
                  </a:lnTo>
                  <a:lnTo>
                    <a:pt x="630" y="2474"/>
                  </a:lnTo>
                  <a:lnTo>
                    <a:pt x="629" y="2452"/>
                  </a:lnTo>
                  <a:lnTo>
                    <a:pt x="630" y="2429"/>
                  </a:lnTo>
                  <a:lnTo>
                    <a:pt x="633" y="2408"/>
                  </a:lnTo>
                  <a:lnTo>
                    <a:pt x="638" y="2387"/>
                  </a:lnTo>
                  <a:lnTo>
                    <a:pt x="646" y="2367"/>
                  </a:lnTo>
                  <a:lnTo>
                    <a:pt x="654" y="2349"/>
                  </a:lnTo>
                  <a:lnTo>
                    <a:pt x="666" y="2331"/>
                  </a:lnTo>
                  <a:lnTo>
                    <a:pt x="671" y="2322"/>
                  </a:lnTo>
                  <a:lnTo>
                    <a:pt x="678" y="2314"/>
                  </a:lnTo>
                  <a:lnTo>
                    <a:pt x="685" y="2306"/>
                  </a:lnTo>
                  <a:lnTo>
                    <a:pt x="692" y="2299"/>
                  </a:lnTo>
                  <a:lnTo>
                    <a:pt x="700" y="2291"/>
                  </a:lnTo>
                  <a:lnTo>
                    <a:pt x="707" y="2284"/>
                  </a:lnTo>
                  <a:lnTo>
                    <a:pt x="716" y="2277"/>
                  </a:lnTo>
                  <a:lnTo>
                    <a:pt x="724" y="2272"/>
                  </a:lnTo>
                  <a:lnTo>
                    <a:pt x="742" y="2260"/>
                  </a:lnTo>
                  <a:lnTo>
                    <a:pt x="760" y="2252"/>
                  </a:lnTo>
                  <a:lnTo>
                    <a:pt x="780" y="2244"/>
                  </a:lnTo>
                  <a:lnTo>
                    <a:pt x="802" y="2239"/>
                  </a:lnTo>
                  <a:lnTo>
                    <a:pt x="823" y="2236"/>
                  </a:lnTo>
                  <a:lnTo>
                    <a:pt x="844" y="2235"/>
                  </a:lnTo>
                  <a:lnTo>
                    <a:pt x="866" y="2236"/>
                  </a:lnTo>
                  <a:lnTo>
                    <a:pt x="888" y="2239"/>
                  </a:lnTo>
                  <a:lnTo>
                    <a:pt x="909" y="2244"/>
                  </a:lnTo>
                  <a:lnTo>
                    <a:pt x="929" y="2252"/>
                  </a:lnTo>
                  <a:lnTo>
                    <a:pt x="948" y="2260"/>
                  </a:lnTo>
                  <a:lnTo>
                    <a:pt x="966" y="2272"/>
                  </a:lnTo>
                  <a:lnTo>
                    <a:pt x="973" y="2277"/>
                  </a:lnTo>
                  <a:lnTo>
                    <a:pt x="982" y="2284"/>
                  </a:lnTo>
                  <a:lnTo>
                    <a:pt x="990" y="2291"/>
                  </a:lnTo>
                  <a:lnTo>
                    <a:pt x="998" y="2299"/>
                  </a:lnTo>
                  <a:lnTo>
                    <a:pt x="1004" y="2306"/>
                  </a:lnTo>
                  <a:lnTo>
                    <a:pt x="1011" y="2314"/>
                  </a:lnTo>
                  <a:lnTo>
                    <a:pt x="1018" y="2322"/>
                  </a:lnTo>
                  <a:lnTo>
                    <a:pt x="1024" y="2331"/>
                  </a:lnTo>
                  <a:lnTo>
                    <a:pt x="1035" y="2349"/>
                  </a:lnTo>
                  <a:lnTo>
                    <a:pt x="1043" y="2367"/>
                  </a:lnTo>
                  <a:lnTo>
                    <a:pt x="1051" y="2387"/>
                  </a:lnTo>
                  <a:lnTo>
                    <a:pt x="1056" y="2408"/>
                  </a:lnTo>
                  <a:lnTo>
                    <a:pt x="1059" y="2429"/>
                  </a:lnTo>
                  <a:lnTo>
                    <a:pt x="1060" y="2452"/>
                  </a:lnTo>
                  <a:lnTo>
                    <a:pt x="1059" y="2474"/>
                  </a:lnTo>
                  <a:lnTo>
                    <a:pt x="1056" y="2495"/>
                  </a:lnTo>
                  <a:lnTo>
                    <a:pt x="1051" y="2516"/>
                  </a:lnTo>
                  <a:lnTo>
                    <a:pt x="1043" y="2536"/>
                  </a:lnTo>
                  <a:lnTo>
                    <a:pt x="1035" y="2555"/>
                  </a:lnTo>
                  <a:lnTo>
                    <a:pt x="1024" y="2573"/>
                  </a:lnTo>
                  <a:lnTo>
                    <a:pt x="1018" y="2582"/>
                  </a:lnTo>
                  <a:lnTo>
                    <a:pt x="1011" y="2589"/>
                  </a:lnTo>
                  <a:lnTo>
                    <a:pt x="1004" y="2598"/>
                  </a:lnTo>
                  <a:lnTo>
                    <a:pt x="998" y="2605"/>
                  </a:lnTo>
                  <a:lnTo>
                    <a:pt x="990" y="2612"/>
                  </a:lnTo>
                  <a:lnTo>
                    <a:pt x="982" y="2619"/>
                  </a:lnTo>
                  <a:lnTo>
                    <a:pt x="973" y="2625"/>
                  </a:lnTo>
                  <a:lnTo>
                    <a:pt x="966" y="2632"/>
                  </a:lnTo>
                  <a:lnTo>
                    <a:pt x="948" y="2642"/>
                  </a:lnTo>
                  <a:lnTo>
                    <a:pt x="929" y="2651"/>
                  </a:lnTo>
                  <a:lnTo>
                    <a:pt x="909" y="2658"/>
                  </a:lnTo>
                  <a:lnTo>
                    <a:pt x="888" y="2663"/>
                  </a:lnTo>
                  <a:lnTo>
                    <a:pt x="866" y="2667"/>
                  </a:lnTo>
                  <a:lnTo>
                    <a:pt x="844" y="2668"/>
                  </a:lnTo>
                  <a:close/>
                  <a:moveTo>
                    <a:pt x="1351" y="2668"/>
                  </a:moveTo>
                  <a:lnTo>
                    <a:pt x="1329" y="2667"/>
                  </a:lnTo>
                  <a:lnTo>
                    <a:pt x="1307" y="2663"/>
                  </a:lnTo>
                  <a:lnTo>
                    <a:pt x="1287" y="2658"/>
                  </a:lnTo>
                  <a:lnTo>
                    <a:pt x="1267" y="2651"/>
                  </a:lnTo>
                  <a:lnTo>
                    <a:pt x="1248" y="2642"/>
                  </a:lnTo>
                  <a:lnTo>
                    <a:pt x="1230" y="2632"/>
                  </a:lnTo>
                  <a:lnTo>
                    <a:pt x="1221" y="2625"/>
                  </a:lnTo>
                  <a:lnTo>
                    <a:pt x="1214" y="2619"/>
                  </a:lnTo>
                  <a:lnTo>
                    <a:pt x="1205" y="2612"/>
                  </a:lnTo>
                  <a:lnTo>
                    <a:pt x="1198" y="2605"/>
                  </a:lnTo>
                  <a:lnTo>
                    <a:pt x="1191" y="2598"/>
                  </a:lnTo>
                  <a:lnTo>
                    <a:pt x="1184" y="2589"/>
                  </a:lnTo>
                  <a:lnTo>
                    <a:pt x="1178" y="2582"/>
                  </a:lnTo>
                  <a:lnTo>
                    <a:pt x="1172" y="2573"/>
                  </a:lnTo>
                  <a:lnTo>
                    <a:pt x="1161" y="2555"/>
                  </a:lnTo>
                  <a:lnTo>
                    <a:pt x="1152" y="2536"/>
                  </a:lnTo>
                  <a:lnTo>
                    <a:pt x="1145" y="2516"/>
                  </a:lnTo>
                  <a:lnTo>
                    <a:pt x="1140" y="2495"/>
                  </a:lnTo>
                  <a:lnTo>
                    <a:pt x="1137" y="2474"/>
                  </a:lnTo>
                  <a:lnTo>
                    <a:pt x="1135" y="2452"/>
                  </a:lnTo>
                  <a:lnTo>
                    <a:pt x="1137" y="2429"/>
                  </a:lnTo>
                  <a:lnTo>
                    <a:pt x="1140" y="2408"/>
                  </a:lnTo>
                  <a:lnTo>
                    <a:pt x="1145" y="2387"/>
                  </a:lnTo>
                  <a:lnTo>
                    <a:pt x="1152" y="2367"/>
                  </a:lnTo>
                  <a:lnTo>
                    <a:pt x="1161" y="2349"/>
                  </a:lnTo>
                  <a:lnTo>
                    <a:pt x="1172" y="2331"/>
                  </a:lnTo>
                  <a:lnTo>
                    <a:pt x="1178" y="2322"/>
                  </a:lnTo>
                  <a:lnTo>
                    <a:pt x="1184" y="2314"/>
                  </a:lnTo>
                  <a:lnTo>
                    <a:pt x="1191" y="2306"/>
                  </a:lnTo>
                  <a:lnTo>
                    <a:pt x="1198" y="2299"/>
                  </a:lnTo>
                  <a:lnTo>
                    <a:pt x="1205" y="2291"/>
                  </a:lnTo>
                  <a:lnTo>
                    <a:pt x="1214" y="2284"/>
                  </a:lnTo>
                  <a:lnTo>
                    <a:pt x="1221" y="2277"/>
                  </a:lnTo>
                  <a:lnTo>
                    <a:pt x="1230" y="2272"/>
                  </a:lnTo>
                  <a:lnTo>
                    <a:pt x="1248" y="2260"/>
                  </a:lnTo>
                  <a:lnTo>
                    <a:pt x="1267" y="2252"/>
                  </a:lnTo>
                  <a:lnTo>
                    <a:pt x="1287" y="2244"/>
                  </a:lnTo>
                  <a:lnTo>
                    <a:pt x="1307" y="2239"/>
                  </a:lnTo>
                  <a:lnTo>
                    <a:pt x="1329" y="2236"/>
                  </a:lnTo>
                  <a:lnTo>
                    <a:pt x="1351" y="2235"/>
                  </a:lnTo>
                  <a:lnTo>
                    <a:pt x="1373" y="2236"/>
                  </a:lnTo>
                  <a:lnTo>
                    <a:pt x="1394" y="2239"/>
                  </a:lnTo>
                  <a:lnTo>
                    <a:pt x="1415" y="2244"/>
                  </a:lnTo>
                  <a:lnTo>
                    <a:pt x="1435" y="2252"/>
                  </a:lnTo>
                  <a:lnTo>
                    <a:pt x="1455" y="2260"/>
                  </a:lnTo>
                  <a:lnTo>
                    <a:pt x="1472" y="2272"/>
                  </a:lnTo>
                  <a:lnTo>
                    <a:pt x="1480" y="2277"/>
                  </a:lnTo>
                  <a:lnTo>
                    <a:pt x="1488" y="2284"/>
                  </a:lnTo>
                  <a:lnTo>
                    <a:pt x="1496" y="2291"/>
                  </a:lnTo>
                  <a:lnTo>
                    <a:pt x="1504" y="2299"/>
                  </a:lnTo>
                  <a:lnTo>
                    <a:pt x="1511" y="2306"/>
                  </a:lnTo>
                  <a:lnTo>
                    <a:pt x="1518" y="2314"/>
                  </a:lnTo>
                  <a:lnTo>
                    <a:pt x="1525" y="2322"/>
                  </a:lnTo>
                  <a:lnTo>
                    <a:pt x="1530" y="2331"/>
                  </a:lnTo>
                  <a:lnTo>
                    <a:pt x="1542" y="2349"/>
                  </a:lnTo>
                  <a:lnTo>
                    <a:pt x="1550" y="2367"/>
                  </a:lnTo>
                  <a:lnTo>
                    <a:pt x="1557" y="2387"/>
                  </a:lnTo>
                  <a:lnTo>
                    <a:pt x="1563" y="2408"/>
                  </a:lnTo>
                  <a:lnTo>
                    <a:pt x="1566" y="2429"/>
                  </a:lnTo>
                  <a:lnTo>
                    <a:pt x="1567" y="2452"/>
                  </a:lnTo>
                  <a:lnTo>
                    <a:pt x="1566" y="2474"/>
                  </a:lnTo>
                  <a:lnTo>
                    <a:pt x="1563" y="2495"/>
                  </a:lnTo>
                  <a:lnTo>
                    <a:pt x="1557" y="2516"/>
                  </a:lnTo>
                  <a:lnTo>
                    <a:pt x="1550" y="2536"/>
                  </a:lnTo>
                  <a:lnTo>
                    <a:pt x="1542" y="2555"/>
                  </a:lnTo>
                  <a:lnTo>
                    <a:pt x="1530" y="2573"/>
                  </a:lnTo>
                  <a:lnTo>
                    <a:pt x="1525" y="2582"/>
                  </a:lnTo>
                  <a:lnTo>
                    <a:pt x="1518" y="2589"/>
                  </a:lnTo>
                  <a:lnTo>
                    <a:pt x="1511" y="2598"/>
                  </a:lnTo>
                  <a:lnTo>
                    <a:pt x="1504" y="2605"/>
                  </a:lnTo>
                  <a:lnTo>
                    <a:pt x="1496" y="2612"/>
                  </a:lnTo>
                  <a:lnTo>
                    <a:pt x="1488" y="2619"/>
                  </a:lnTo>
                  <a:lnTo>
                    <a:pt x="1480" y="2625"/>
                  </a:lnTo>
                  <a:lnTo>
                    <a:pt x="1472" y="2632"/>
                  </a:lnTo>
                  <a:lnTo>
                    <a:pt x="1455" y="2642"/>
                  </a:lnTo>
                  <a:lnTo>
                    <a:pt x="1435" y="2651"/>
                  </a:lnTo>
                  <a:lnTo>
                    <a:pt x="1415" y="2658"/>
                  </a:lnTo>
                  <a:lnTo>
                    <a:pt x="1394" y="2663"/>
                  </a:lnTo>
                  <a:lnTo>
                    <a:pt x="1373" y="2667"/>
                  </a:lnTo>
                  <a:lnTo>
                    <a:pt x="1351" y="266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36" name="Freeform 7"/>
            <p:cNvSpPr>
              <a:spLocks noEditPoints="1"/>
            </p:cNvSpPr>
            <p:nvPr/>
          </p:nvSpPr>
          <p:spPr bwMode="auto">
            <a:xfrm>
              <a:off x="5176838" y="2511426"/>
              <a:ext cx="919163" cy="1816100"/>
            </a:xfrm>
            <a:custGeom>
              <a:avLst/>
              <a:gdLst>
                <a:gd name="T0" fmla="*/ 1734 w 1735"/>
                <a:gd name="T1" fmla="*/ 0 h 3431"/>
                <a:gd name="T2" fmla="*/ 1734 w 1735"/>
                <a:gd name="T3" fmla="*/ 0 h 3431"/>
                <a:gd name="T4" fmla="*/ 1733 w 1735"/>
                <a:gd name="T5" fmla="*/ 0 h 3431"/>
                <a:gd name="T6" fmla="*/ 1733 w 1735"/>
                <a:gd name="T7" fmla="*/ 0 h 3431"/>
                <a:gd name="T8" fmla="*/ 1732 w 1735"/>
                <a:gd name="T9" fmla="*/ 0 h 3431"/>
                <a:gd name="T10" fmla="*/ 1731 w 1735"/>
                <a:gd name="T11" fmla="*/ 0 h 3431"/>
                <a:gd name="T12" fmla="*/ 1730 w 1735"/>
                <a:gd name="T13" fmla="*/ 0 h 3431"/>
                <a:gd name="T14" fmla="*/ 1729 w 1735"/>
                <a:gd name="T15" fmla="*/ 0 h 3431"/>
                <a:gd name="T16" fmla="*/ 1510 w 1735"/>
                <a:gd name="T17" fmla="*/ 14 h 3431"/>
                <a:gd name="T18" fmla="*/ 1298 w 1735"/>
                <a:gd name="T19" fmla="*/ 55 h 3431"/>
                <a:gd name="T20" fmla="*/ 1095 w 1735"/>
                <a:gd name="T21" fmla="*/ 121 h 3431"/>
                <a:gd name="T22" fmla="*/ 905 w 1735"/>
                <a:gd name="T23" fmla="*/ 210 h 3431"/>
                <a:gd name="T24" fmla="*/ 728 w 1735"/>
                <a:gd name="T25" fmla="*/ 320 h 3431"/>
                <a:gd name="T26" fmla="*/ 567 w 1735"/>
                <a:gd name="T27" fmla="*/ 451 h 3431"/>
                <a:gd name="T28" fmla="*/ 422 w 1735"/>
                <a:gd name="T29" fmla="*/ 600 h 3431"/>
                <a:gd name="T30" fmla="*/ 296 w 1735"/>
                <a:gd name="T31" fmla="*/ 765 h 3431"/>
                <a:gd name="T32" fmla="*/ 190 w 1735"/>
                <a:gd name="T33" fmla="*/ 945 h 3431"/>
                <a:gd name="T34" fmla="*/ 105 w 1735"/>
                <a:gd name="T35" fmla="*/ 1138 h 3431"/>
                <a:gd name="T36" fmla="*/ 45 w 1735"/>
                <a:gd name="T37" fmla="*/ 1344 h 3431"/>
                <a:gd name="T38" fmla="*/ 10 w 1735"/>
                <a:gd name="T39" fmla="*/ 1558 h 3431"/>
                <a:gd name="T40" fmla="*/ 1 w 1735"/>
                <a:gd name="T41" fmla="*/ 1773 h 3431"/>
                <a:gd name="T42" fmla="*/ 15 w 1735"/>
                <a:gd name="T43" fmla="*/ 1965 h 3431"/>
                <a:gd name="T44" fmla="*/ 50 w 1735"/>
                <a:gd name="T45" fmla="*/ 2150 h 3431"/>
                <a:gd name="T46" fmla="*/ 104 w 1735"/>
                <a:gd name="T47" fmla="*/ 2327 h 3431"/>
                <a:gd name="T48" fmla="*/ 175 w 1735"/>
                <a:gd name="T49" fmla="*/ 2496 h 3431"/>
                <a:gd name="T50" fmla="*/ 263 w 1735"/>
                <a:gd name="T51" fmla="*/ 2655 h 3431"/>
                <a:gd name="T52" fmla="*/ 367 w 1735"/>
                <a:gd name="T53" fmla="*/ 2803 h 3431"/>
                <a:gd name="T54" fmla="*/ 486 w 1735"/>
                <a:gd name="T55" fmla="*/ 2939 h 3431"/>
                <a:gd name="T56" fmla="*/ 617 w 1735"/>
                <a:gd name="T57" fmla="*/ 3063 h 3431"/>
                <a:gd name="T58" fmla="*/ 760 w 1735"/>
                <a:gd name="T59" fmla="*/ 3172 h 3431"/>
                <a:gd name="T60" fmla="*/ 916 w 1735"/>
                <a:gd name="T61" fmla="*/ 3266 h 3431"/>
                <a:gd name="T62" fmla="*/ 1080 w 1735"/>
                <a:gd name="T63" fmla="*/ 3343 h 3431"/>
                <a:gd name="T64" fmla="*/ 1254 w 1735"/>
                <a:gd name="T65" fmla="*/ 3403 h 3431"/>
                <a:gd name="T66" fmla="*/ 1365 w 1735"/>
                <a:gd name="T67" fmla="*/ 1847 h 3431"/>
                <a:gd name="T68" fmla="*/ 1446 w 1735"/>
                <a:gd name="T69" fmla="*/ 1748 h 3431"/>
                <a:gd name="T70" fmla="*/ 1498 w 1735"/>
                <a:gd name="T71" fmla="*/ 1735 h 3431"/>
                <a:gd name="T72" fmla="*/ 1498 w 1735"/>
                <a:gd name="T73" fmla="*/ 1735 h 3431"/>
                <a:gd name="T74" fmla="*/ 1498 w 1735"/>
                <a:gd name="T75" fmla="*/ 1735 h 3431"/>
                <a:gd name="T76" fmla="*/ 1498 w 1735"/>
                <a:gd name="T77" fmla="*/ 1735 h 3431"/>
                <a:gd name="T78" fmla="*/ 1704 w 1735"/>
                <a:gd name="T79" fmla="*/ 1735 h 3431"/>
                <a:gd name="T80" fmla="*/ 1730 w 1735"/>
                <a:gd name="T81" fmla="*/ 1729 h 3431"/>
                <a:gd name="T82" fmla="*/ 1735 w 1735"/>
                <a:gd name="T83" fmla="*/ 0 h 3431"/>
                <a:gd name="T84" fmla="*/ 1314 w 1735"/>
                <a:gd name="T85" fmla="*/ 1414 h 3431"/>
                <a:gd name="T86" fmla="*/ 1253 w 1735"/>
                <a:gd name="T87" fmla="*/ 1375 h 3431"/>
                <a:gd name="T88" fmla="*/ 1219 w 1735"/>
                <a:gd name="T89" fmla="*/ 1335 h 3431"/>
                <a:gd name="T90" fmla="*/ 1183 w 1735"/>
                <a:gd name="T91" fmla="*/ 1236 h 3431"/>
                <a:gd name="T92" fmla="*/ 1199 w 1735"/>
                <a:gd name="T93" fmla="*/ 1130 h 3431"/>
                <a:gd name="T94" fmla="*/ 1238 w 1735"/>
                <a:gd name="T95" fmla="*/ 1068 h 3431"/>
                <a:gd name="T96" fmla="*/ 1277 w 1735"/>
                <a:gd name="T97" fmla="*/ 1034 h 3431"/>
                <a:gd name="T98" fmla="*/ 1376 w 1735"/>
                <a:gd name="T99" fmla="*/ 998 h 3431"/>
                <a:gd name="T100" fmla="*/ 1482 w 1735"/>
                <a:gd name="T101" fmla="*/ 1014 h 3431"/>
                <a:gd name="T102" fmla="*/ 1544 w 1735"/>
                <a:gd name="T103" fmla="*/ 1053 h 3431"/>
                <a:gd name="T104" fmla="*/ 1578 w 1735"/>
                <a:gd name="T105" fmla="*/ 1093 h 3431"/>
                <a:gd name="T106" fmla="*/ 1614 w 1735"/>
                <a:gd name="T107" fmla="*/ 1192 h 3431"/>
                <a:gd name="T108" fmla="*/ 1598 w 1735"/>
                <a:gd name="T109" fmla="*/ 1298 h 3431"/>
                <a:gd name="T110" fmla="*/ 1558 w 1735"/>
                <a:gd name="T111" fmla="*/ 1360 h 3431"/>
                <a:gd name="T112" fmla="*/ 1519 w 1735"/>
                <a:gd name="T113" fmla="*/ 1394 h 3431"/>
                <a:gd name="T114" fmla="*/ 1421 w 1735"/>
                <a:gd name="T115" fmla="*/ 1430 h 3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5" h="3431">
                  <a:moveTo>
                    <a:pt x="1735" y="0"/>
                  </a:move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29" y="0"/>
                  </a:lnTo>
                  <a:lnTo>
                    <a:pt x="1685" y="1"/>
                  </a:lnTo>
                  <a:lnTo>
                    <a:pt x="1641" y="2"/>
                  </a:lnTo>
                  <a:lnTo>
                    <a:pt x="1597" y="6"/>
                  </a:lnTo>
                  <a:lnTo>
                    <a:pt x="1553" y="10"/>
                  </a:lnTo>
                  <a:lnTo>
                    <a:pt x="1510" y="14"/>
                  </a:lnTo>
                  <a:lnTo>
                    <a:pt x="1466" y="21"/>
                  </a:lnTo>
                  <a:lnTo>
                    <a:pt x="1424" y="28"/>
                  </a:lnTo>
                  <a:lnTo>
                    <a:pt x="1381" y="35"/>
                  </a:lnTo>
                  <a:lnTo>
                    <a:pt x="1339" y="45"/>
                  </a:lnTo>
                  <a:lnTo>
                    <a:pt x="1298" y="55"/>
                  </a:lnTo>
                  <a:lnTo>
                    <a:pt x="1256" y="66"/>
                  </a:lnTo>
                  <a:lnTo>
                    <a:pt x="1215" y="78"/>
                  </a:lnTo>
                  <a:lnTo>
                    <a:pt x="1175" y="92"/>
                  </a:lnTo>
                  <a:lnTo>
                    <a:pt x="1135" y="106"/>
                  </a:lnTo>
                  <a:lnTo>
                    <a:pt x="1095" y="121"/>
                  </a:lnTo>
                  <a:lnTo>
                    <a:pt x="1057" y="136"/>
                  </a:lnTo>
                  <a:lnTo>
                    <a:pt x="1018" y="154"/>
                  </a:lnTo>
                  <a:lnTo>
                    <a:pt x="980" y="172"/>
                  </a:lnTo>
                  <a:lnTo>
                    <a:pt x="943" y="191"/>
                  </a:lnTo>
                  <a:lnTo>
                    <a:pt x="905" y="210"/>
                  </a:lnTo>
                  <a:lnTo>
                    <a:pt x="869" y="230"/>
                  </a:lnTo>
                  <a:lnTo>
                    <a:pt x="833" y="251"/>
                  </a:lnTo>
                  <a:lnTo>
                    <a:pt x="797" y="274"/>
                  </a:lnTo>
                  <a:lnTo>
                    <a:pt x="763" y="297"/>
                  </a:lnTo>
                  <a:lnTo>
                    <a:pt x="728" y="320"/>
                  </a:lnTo>
                  <a:lnTo>
                    <a:pt x="695" y="345"/>
                  </a:lnTo>
                  <a:lnTo>
                    <a:pt x="662" y="370"/>
                  </a:lnTo>
                  <a:lnTo>
                    <a:pt x="630" y="397"/>
                  </a:lnTo>
                  <a:lnTo>
                    <a:pt x="598" y="424"/>
                  </a:lnTo>
                  <a:lnTo>
                    <a:pt x="567" y="451"/>
                  </a:lnTo>
                  <a:lnTo>
                    <a:pt x="536" y="479"/>
                  </a:lnTo>
                  <a:lnTo>
                    <a:pt x="507" y="509"/>
                  </a:lnTo>
                  <a:lnTo>
                    <a:pt x="478" y="539"/>
                  </a:lnTo>
                  <a:lnTo>
                    <a:pt x="450" y="568"/>
                  </a:lnTo>
                  <a:lnTo>
                    <a:pt x="422" y="600"/>
                  </a:lnTo>
                  <a:lnTo>
                    <a:pt x="395" y="632"/>
                  </a:lnTo>
                  <a:lnTo>
                    <a:pt x="369" y="664"/>
                  </a:lnTo>
                  <a:lnTo>
                    <a:pt x="344" y="697"/>
                  </a:lnTo>
                  <a:lnTo>
                    <a:pt x="319" y="731"/>
                  </a:lnTo>
                  <a:lnTo>
                    <a:pt x="296" y="765"/>
                  </a:lnTo>
                  <a:lnTo>
                    <a:pt x="273" y="800"/>
                  </a:lnTo>
                  <a:lnTo>
                    <a:pt x="250" y="835"/>
                  </a:lnTo>
                  <a:lnTo>
                    <a:pt x="229" y="871"/>
                  </a:lnTo>
                  <a:lnTo>
                    <a:pt x="209" y="909"/>
                  </a:lnTo>
                  <a:lnTo>
                    <a:pt x="190" y="945"/>
                  </a:lnTo>
                  <a:lnTo>
                    <a:pt x="171" y="983"/>
                  </a:lnTo>
                  <a:lnTo>
                    <a:pt x="153" y="1021"/>
                  </a:lnTo>
                  <a:lnTo>
                    <a:pt x="136" y="1060"/>
                  </a:lnTo>
                  <a:lnTo>
                    <a:pt x="120" y="1099"/>
                  </a:lnTo>
                  <a:lnTo>
                    <a:pt x="105" y="1138"/>
                  </a:lnTo>
                  <a:lnTo>
                    <a:pt x="91" y="1179"/>
                  </a:lnTo>
                  <a:lnTo>
                    <a:pt x="79" y="1219"/>
                  </a:lnTo>
                  <a:lnTo>
                    <a:pt x="66" y="1260"/>
                  </a:lnTo>
                  <a:lnTo>
                    <a:pt x="55" y="1301"/>
                  </a:lnTo>
                  <a:lnTo>
                    <a:pt x="45" y="1344"/>
                  </a:lnTo>
                  <a:lnTo>
                    <a:pt x="35" y="1385"/>
                  </a:lnTo>
                  <a:lnTo>
                    <a:pt x="28" y="1428"/>
                  </a:lnTo>
                  <a:lnTo>
                    <a:pt x="20" y="1471"/>
                  </a:lnTo>
                  <a:lnTo>
                    <a:pt x="14" y="1514"/>
                  </a:lnTo>
                  <a:lnTo>
                    <a:pt x="10" y="1558"/>
                  </a:lnTo>
                  <a:lnTo>
                    <a:pt x="5" y="1601"/>
                  </a:lnTo>
                  <a:lnTo>
                    <a:pt x="2" y="1646"/>
                  </a:lnTo>
                  <a:lnTo>
                    <a:pt x="1" y="1690"/>
                  </a:lnTo>
                  <a:lnTo>
                    <a:pt x="0" y="1735"/>
                  </a:lnTo>
                  <a:lnTo>
                    <a:pt x="1" y="1773"/>
                  </a:lnTo>
                  <a:lnTo>
                    <a:pt x="2" y="1813"/>
                  </a:lnTo>
                  <a:lnTo>
                    <a:pt x="4" y="1851"/>
                  </a:lnTo>
                  <a:lnTo>
                    <a:pt x="7" y="1889"/>
                  </a:lnTo>
                  <a:lnTo>
                    <a:pt x="11" y="1928"/>
                  </a:lnTo>
                  <a:lnTo>
                    <a:pt x="15" y="1965"/>
                  </a:lnTo>
                  <a:lnTo>
                    <a:pt x="21" y="2002"/>
                  </a:lnTo>
                  <a:lnTo>
                    <a:pt x="27" y="2039"/>
                  </a:lnTo>
                  <a:lnTo>
                    <a:pt x="34" y="2077"/>
                  </a:lnTo>
                  <a:lnTo>
                    <a:pt x="41" y="2114"/>
                  </a:lnTo>
                  <a:lnTo>
                    <a:pt x="50" y="2150"/>
                  </a:lnTo>
                  <a:lnTo>
                    <a:pt x="59" y="2186"/>
                  </a:lnTo>
                  <a:lnTo>
                    <a:pt x="69" y="2221"/>
                  </a:lnTo>
                  <a:lnTo>
                    <a:pt x="80" y="2257"/>
                  </a:lnTo>
                  <a:lnTo>
                    <a:pt x="91" y="2292"/>
                  </a:lnTo>
                  <a:lnTo>
                    <a:pt x="104" y="2327"/>
                  </a:lnTo>
                  <a:lnTo>
                    <a:pt x="117" y="2362"/>
                  </a:lnTo>
                  <a:lnTo>
                    <a:pt x="130" y="2396"/>
                  </a:lnTo>
                  <a:lnTo>
                    <a:pt x="144" y="2430"/>
                  </a:lnTo>
                  <a:lnTo>
                    <a:pt x="159" y="2463"/>
                  </a:lnTo>
                  <a:lnTo>
                    <a:pt x="175" y="2496"/>
                  </a:lnTo>
                  <a:lnTo>
                    <a:pt x="192" y="2529"/>
                  </a:lnTo>
                  <a:lnTo>
                    <a:pt x="209" y="2561"/>
                  </a:lnTo>
                  <a:lnTo>
                    <a:pt x="226" y="2592"/>
                  </a:lnTo>
                  <a:lnTo>
                    <a:pt x="244" y="2623"/>
                  </a:lnTo>
                  <a:lnTo>
                    <a:pt x="263" y="2655"/>
                  </a:lnTo>
                  <a:lnTo>
                    <a:pt x="283" y="2685"/>
                  </a:lnTo>
                  <a:lnTo>
                    <a:pt x="303" y="2716"/>
                  </a:lnTo>
                  <a:lnTo>
                    <a:pt x="323" y="2745"/>
                  </a:lnTo>
                  <a:lnTo>
                    <a:pt x="345" y="2774"/>
                  </a:lnTo>
                  <a:lnTo>
                    <a:pt x="367" y="2803"/>
                  </a:lnTo>
                  <a:lnTo>
                    <a:pt x="389" y="2831"/>
                  </a:lnTo>
                  <a:lnTo>
                    <a:pt x="412" y="2859"/>
                  </a:lnTo>
                  <a:lnTo>
                    <a:pt x="436" y="2886"/>
                  </a:lnTo>
                  <a:lnTo>
                    <a:pt x="460" y="2913"/>
                  </a:lnTo>
                  <a:lnTo>
                    <a:pt x="486" y="2939"/>
                  </a:lnTo>
                  <a:lnTo>
                    <a:pt x="511" y="2965"/>
                  </a:lnTo>
                  <a:lnTo>
                    <a:pt x="536" y="2990"/>
                  </a:lnTo>
                  <a:lnTo>
                    <a:pt x="563" y="3015"/>
                  </a:lnTo>
                  <a:lnTo>
                    <a:pt x="589" y="3039"/>
                  </a:lnTo>
                  <a:lnTo>
                    <a:pt x="617" y="3063"/>
                  </a:lnTo>
                  <a:lnTo>
                    <a:pt x="645" y="3086"/>
                  </a:lnTo>
                  <a:lnTo>
                    <a:pt x="673" y="3108"/>
                  </a:lnTo>
                  <a:lnTo>
                    <a:pt x="702" y="3130"/>
                  </a:lnTo>
                  <a:lnTo>
                    <a:pt x="730" y="3151"/>
                  </a:lnTo>
                  <a:lnTo>
                    <a:pt x="760" y="3172"/>
                  </a:lnTo>
                  <a:lnTo>
                    <a:pt x="791" y="3191"/>
                  </a:lnTo>
                  <a:lnTo>
                    <a:pt x="822" y="3211"/>
                  </a:lnTo>
                  <a:lnTo>
                    <a:pt x="852" y="3230"/>
                  </a:lnTo>
                  <a:lnTo>
                    <a:pt x="884" y="3248"/>
                  </a:lnTo>
                  <a:lnTo>
                    <a:pt x="916" y="3266"/>
                  </a:lnTo>
                  <a:lnTo>
                    <a:pt x="948" y="3283"/>
                  </a:lnTo>
                  <a:lnTo>
                    <a:pt x="981" y="3299"/>
                  </a:lnTo>
                  <a:lnTo>
                    <a:pt x="1014" y="3314"/>
                  </a:lnTo>
                  <a:lnTo>
                    <a:pt x="1046" y="3328"/>
                  </a:lnTo>
                  <a:lnTo>
                    <a:pt x="1080" y="3343"/>
                  </a:lnTo>
                  <a:lnTo>
                    <a:pt x="1114" y="3356"/>
                  </a:lnTo>
                  <a:lnTo>
                    <a:pt x="1149" y="3369"/>
                  </a:lnTo>
                  <a:lnTo>
                    <a:pt x="1184" y="3382"/>
                  </a:lnTo>
                  <a:lnTo>
                    <a:pt x="1219" y="3392"/>
                  </a:lnTo>
                  <a:lnTo>
                    <a:pt x="1254" y="3403"/>
                  </a:lnTo>
                  <a:lnTo>
                    <a:pt x="1290" y="3412"/>
                  </a:lnTo>
                  <a:lnTo>
                    <a:pt x="1326" y="3422"/>
                  </a:lnTo>
                  <a:lnTo>
                    <a:pt x="1362" y="3431"/>
                  </a:lnTo>
                  <a:lnTo>
                    <a:pt x="1362" y="1873"/>
                  </a:lnTo>
                  <a:lnTo>
                    <a:pt x="1365" y="1847"/>
                  </a:lnTo>
                  <a:lnTo>
                    <a:pt x="1374" y="1821"/>
                  </a:lnTo>
                  <a:lnTo>
                    <a:pt x="1387" y="1798"/>
                  </a:lnTo>
                  <a:lnTo>
                    <a:pt x="1403" y="1778"/>
                  </a:lnTo>
                  <a:lnTo>
                    <a:pt x="1423" y="1761"/>
                  </a:lnTo>
                  <a:lnTo>
                    <a:pt x="1446" y="1748"/>
                  </a:lnTo>
                  <a:lnTo>
                    <a:pt x="1470" y="1739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691" y="1735"/>
                  </a:lnTo>
                  <a:lnTo>
                    <a:pt x="1697" y="1735"/>
                  </a:lnTo>
                  <a:lnTo>
                    <a:pt x="1704" y="1735"/>
                  </a:lnTo>
                  <a:lnTo>
                    <a:pt x="1711" y="1735"/>
                  </a:lnTo>
                  <a:lnTo>
                    <a:pt x="1719" y="1734"/>
                  </a:lnTo>
                  <a:lnTo>
                    <a:pt x="1723" y="1733"/>
                  </a:lnTo>
                  <a:lnTo>
                    <a:pt x="1727" y="1732"/>
                  </a:lnTo>
                  <a:lnTo>
                    <a:pt x="1730" y="1729"/>
                  </a:lnTo>
                  <a:lnTo>
                    <a:pt x="1732" y="1727"/>
                  </a:lnTo>
                  <a:lnTo>
                    <a:pt x="1733" y="1724"/>
                  </a:lnTo>
                  <a:lnTo>
                    <a:pt x="1734" y="1720"/>
                  </a:lnTo>
                  <a:lnTo>
                    <a:pt x="1734" y="1717"/>
                  </a:lnTo>
                  <a:lnTo>
                    <a:pt x="1735" y="0"/>
                  </a:lnTo>
                  <a:close/>
                  <a:moveTo>
                    <a:pt x="1398" y="1431"/>
                  </a:moveTo>
                  <a:lnTo>
                    <a:pt x="1376" y="1430"/>
                  </a:lnTo>
                  <a:lnTo>
                    <a:pt x="1355" y="1427"/>
                  </a:lnTo>
                  <a:lnTo>
                    <a:pt x="1334" y="1421"/>
                  </a:lnTo>
                  <a:lnTo>
                    <a:pt x="1314" y="1414"/>
                  </a:lnTo>
                  <a:lnTo>
                    <a:pt x="1296" y="1404"/>
                  </a:lnTo>
                  <a:lnTo>
                    <a:pt x="1277" y="1394"/>
                  </a:lnTo>
                  <a:lnTo>
                    <a:pt x="1269" y="1387"/>
                  </a:lnTo>
                  <a:lnTo>
                    <a:pt x="1261" y="1381"/>
                  </a:lnTo>
                  <a:lnTo>
                    <a:pt x="1253" y="1375"/>
                  </a:lnTo>
                  <a:lnTo>
                    <a:pt x="1246" y="1367"/>
                  </a:lnTo>
                  <a:lnTo>
                    <a:pt x="1238" y="1360"/>
                  </a:lnTo>
                  <a:lnTo>
                    <a:pt x="1231" y="1352"/>
                  </a:lnTo>
                  <a:lnTo>
                    <a:pt x="1224" y="1344"/>
                  </a:lnTo>
                  <a:lnTo>
                    <a:pt x="1219" y="1335"/>
                  </a:lnTo>
                  <a:lnTo>
                    <a:pt x="1209" y="1317"/>
                  </a:lnTo>
                  <a:lnTo>
                    <a:pt x="1199" y="1298"/>
                  </a:lnTo>
                  <a:lnTo>
                    <a:pt x="1192" y="1279"/>
                  </a:lnTo>
                  <a:lnTo>
                    <a:pt x="1186" y="1258"/>
                  </a:lnTo>
                  <a:lnTo>
                    <a:pt x="1183" y="1236"/>
                  </a:lnTo>
                  <a:lnTo>
                    <a:pt x="1182" y="1214"/>
                  </a:lnTo>
                  <a:lnTo>
                    <a:pt x="1183" y="1192"/>
                  </a:lnTo>
                  <a:lnTo>
                    <a:pt x="1186" y="1170"/>
                  </a:lnTo>
                  <a:lnTo>
                    <a:pt x="1192" y="1149"/>
                  </a:lnTo>
                  <a:lnTo>
                    <a:pt x="1199" y="1130"/>
                  </a:lnTo>
                  <a:lnTo>
                    <a:pt x="1209" y="1111"/>
                  </a:lnTo>
                  <a:lnTo>
                    <a:pt x="1219" y="1093"/>
                  </a:lnTo>
                  <a:lnTo>
                    <a:pt x="1224" y="1084"/>
                  </a:lnTo>
                  <a:lnTo>
                    <a:pt x="1231" y="1076"/>
                  </a:lnTo>
                  <a:lnTo>
                    <a:pt x="1238" y="1068"/>
                  </a:lnTo>
                  <a:lnTo>
                    <a:pt x="1246" y="1061"/>
                  </a:lnTo>
                  <a:lnTo>
                    <a:pt x="1253" y="1053"/>
                  </a:lnTo>
                  <a:lnTo>
                    <a:pt x="1261" y="1047"/>
                  </a:lnTo>
                  <a:lnTo>
                    <a:pt x="1269" y="1041"/>
                  </a:lnTo>
                  <a:lnTo>
                    <a:pt x="1277" y="1034"/>
                  </a:lnTo>
                  <a:lnTo>
                    <a:pt x="1296" y="1024"/>
                  </a:lnTo>
                  <a:lnTo>
                    <a:pt x="1314" y="1014"/>
                  </a:lnTo>
                  <a:lnTo>
                    <a:pt x="1334" y="1007"/>
                  </a:lnTo>
                  <a:lnTo>
                    <a:pt x="1355" y="1001"/>
                  </a:lnTo>
                  <a:lnTo>
                    <a:pt x="1376" y="998"/>
                  </a:lnTo>
                  <a:lnTo>
                    <a:pt x="1398" y="997"/>
                  </a:lnTo>
                  <a:lnTo>
                    <a:pt x="1421" y="998"/>
                  </a:lnTo>
                  <a:lnTo>
                    <a:pt x="1442" y="1001"/>
                  </a:lnTo>
                  <a:lnTo>
                    <a:pt x="1462" y="1007"/>
                  </a:lnTo>
                  <a:lnTo>
                    <a:pt x="1482" y="1014"/>
                  </a:lnTo>
                  <a:lnTo>
                    <a:pt x="1501" y="1024"/>
                  </a:lnTo>
                  <a:lnTo>
                    <a:pt x="1519" y="1034"/>
                  </a:lnTo>
                  <a:lnTo>
                    <a:pt x="1528" y="1041"/>
                  </a:lnTo>
                  <a:lnTo>
                    <a:pt x="1535" y="1047"/>
                  </a:lnTo>
                  <a:lnTo>
                    <a:pt x="1544" y="1053"/>
                  </a:lnTo>
                  <a:lnTo>
                    <a:pt x="1551" y="1061"/>
                  </a:lnTo>
                  <a:lnTo>
                    <a:pt x="1558" y="1068"/>
                  </a:lnTo>
                  <a:lnTo>
                    <a:pt x="1565" y="1076"/>
                  </a:lnTo>
                  <a:lnTo>
                    <a:pt x="1571" y="1084"/>
                  </a:lnTo>
                  <a:lnTo>
                    <a:pt x="1578" y="1093"/>
                  </a:lnTo>
                  <a:lnTo>
                    <a:pt x="1588" y="1111"/>
                  </a:lnTo>
                  <a:lnTo>
                    <a:pt x="1598" y="1130"/>
                  </a:lnTo>
                  <a:lnTo>
                    <a:pt x="1604" y="1149"/>
                  </a:lnTo>
                  <a:lnTo>
                    <a:pt x="1609" y="1170"/>
                  </a:lnTo>
                  <a:lnTo>
                    <a:pt x="1614" y="1192"/>
                  </a:lnTo>
                  <a:lnTo>
                    <a:pt x="1615" y="1214"/>
                  </a:lnTo>
                  <a:lnTo>
                    <a:pt x="1614" y="1236"/>
                  </a:lnTo>
                  <a:lnTo>
                    <a:pt x="1609" y="1258"/>
                  </a:lnTo>
                  <a:lnTo>
                    <a:pt x="1604" y="1279"/>
                  </a:lnTo>
                  <a:lnTo>
                    <a:pt x="1598" y="1298"/>
                  </a:lnTo>
                  <a:lnTo>
                    <a:pt x="1588" y="1317"/>
                  </a:lnTo>
                  <a:lnTo>
                    <a:pt x="1578" y="1335"/>
                  </a:lnTo>
                  <a:lnTo>
                    <a:pt x="1571" y="1344"/>
                  </a:lnTo>
                  <a:lnTo>
                    <a:pt x="1565" y="1352"/>
                  </a:lnTo>
                  <a:lnTo>
                    <a:pt x="1558" y="1360"/>
                  </a:lnTo>
                  <a:lnTo>
                    <a:pt x="1551" y="1367"/>
                  </a:lnTo>
                  <a:lnTo>
                    <a:pt x="1544" y="1375"/>
                  </a:lnTo>
                  <a:lnTo>
                    <a:pt x="1535" y="1381"/>
                  </a:lnTo>
                  <a:lnTo>
                    <a:pt x="1528" y="1387"/>
                  </a:lnTo>
                  <a:lnTo>
                    <a:pt x="1519" y="1394"/>
                  </a:lnTo>
                  <a:lnTo>
                    <a:pt x="1501" y="1404"/>
                  </a:lnTo>
                  <a:lnTo>
                    <a:pt x="1482" y="1414"/>
                  </a:lnTo>
                  <a:lnTo>
                    <a:pt x="1462" y="1421"/>
                  </a:lnTo>
                  <a:lnTo>
                    <a:pt x="1442" y="1427"/>
                  </a:lnTo>
                  <a:lnTo>
                    <a:pt x="1421" y="1430"/>
                  </a:lnTo>
                  <a:lnTo>
                    <a:pt x="1398" y="143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</p:grpSp>
      <p:grpSp>
        <p:nvGrpSpPr>
          <p:cNvPr id="37" name="Group 34"/>
          <p:cNvGrpSpPr>
            <a:grpSpLocks noChangeAspect="1"/>
          </p:cNvGrpSpPr>
          <p:nvPr userDrawn="1"/>
        </p:nvGrpSpPr>
        <p:grpSpPr>
          <a:xfrm>
            <a:off x="10211192" y="6387198"/>
            <a:ext cx="1583997" cy="210459"/>
            <a:chOff x="934710" y="2708155"/>
            <a:chExt cx="10308163" cy="1369608"/>
          </a:xfrm>
          <a:solidFill>
            <a:srgbClr val="00985F"/>
          </a:solidFill>
        </p:grpSpPr>
        <p:sp>
          <p:nvSpPr>
            <p:cNvPr id="38" name="Freeform 6"/>
            <p:cNvSpPr>
              <a:spLocks/>
            </p:cNvSpPr>
            <p:nvPr/>
          </p:nvSpPr>
          <p:spPr bwMode="auto">
            <a:xfrm>
              <a:off x="10046261" y="2909992"/>
              <a:ext cx="1196612" cy="1153354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39" name="Freeform 7"/>
            <p:cNvSpPr>
              <a:spLocks noEditPoints="1"/>
            </p:cNvSpPr>
            <p:nvPr/>
          </p:nvSpPr>
          <p:spPr bwMode="auto">
            <a:xfrm>
              <a:off x="5086809" y="2895575"/>
              <a:ext cx="1441701" cy="1167771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40" name="Freeform 8"/>
            <p:cNvSpPr>
              <a:spLocks/>
            </p:cNvSpPr>
            <p:nvPr/>
          </p:nvSpPr>
          <p:spPr bwMode="auto">
            <a:xfrm>
              <a:off x="934710" y="2708155"/>
              <a:ext cx="1874211" cy="1369608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41" name="Freeform 9"/>
            <p:cNvSpPr>
              <a:spLocks/>
            </p:cNvSpPr>
            <p:nvPr/>
          </p:nvSpPr>
          <p:spPr bwMode="auto">
            <a:xfrm>
              <a:off x="3010760" y="2909992"/>
              <a:ext cx="1038025" cy="1153354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42" name="Freeform 10"/>
            <p:cNvSpPr>
              <a:spLocks/>
            </p:cNvSpPr>
            <p:nvPr/>
          </p:nvSpPr>
          <p:spPr bwMode="auto">
            <a:xfrm>
              <a:off x="4250623" y="2909992"/>
              <a:ext cx="1052442" cy="1153354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43" name="Freeform 11"/>
            <p:cNvSpPr>
              <a:spLocks noEditPoints="1"/>
            </p:cNvSpPr>
            <p:nvPr/>
          </p:nvSpPr>
          <p:spPr bwMode="auto">
            <a:xfrm>
              <a:off x="8503641" y="2895575"/>
              <a:ext cx="1355199" cy="1182188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44" name="Freeform 12"/>
            <p:cNvSpPr>
              <a:spLocks noEditPoints="1"/>
            </p:cNvSpPr>
            <p:nvPr/>
          </p:nvSpPr>
          <p:spPr bwMode="auto">
            <a:xfrm>
              <a:off x="6499676" y="2736989"/>
              <a:ext cx="1802126" cy="1326357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</p:grp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838200" y="213518"/>
            <a:ext cx="10515600" cy="4056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1231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11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12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7.tif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notesSlide" Target="../notesSlides/notesSlide7.xml"/><Relationship Id="rId5" Type="http://schemas.openxmlformats.org/officeDocument/2006/relationships/image" Target="../media/image9.png"/><Relationship Id="rId1" Type="http://schemas.microsoft.com/office/2007/relationships/media" Target="../media/media1.mp4"/><Relationship Id="rId2" Type="http://schemas.openxmlformats.org/officeDocument/2006/relationships/video" Target="../media/media1.mp4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0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09878" y="2852738"/>
            <a:ext cx="9281378" cy="1828193"/>
          </a:xfrm>
        </p:spPr>
        <p:txBody>
          <a:bodyPr/>
          <a:lstStyle/>
          <a:p>
            <a:r>
              <a:rPr lang="ru-RU" b="1" dirty="0" smtClean="0"/>
              <a:t>Новые правила: как изменились роли игроков </a:t>
            </a:r>
            <a:r>
              <a:rPr lang="ru-RU" b="1" dirty="0" err="1" smtClean="0"/>
              <a:t>adtech</a:t>
            </a:r>
            <a:r>
              <a:rPr lang="ru-RU" b="1" dirty="0" smtClean="0"/>
              <a:t>-реальности</a:t>
            </a:r>
            <a:endParaRPr lang="ru-RU" b="1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15131" y="4884738"/>
            <a:ext cx="7443692" cy="400110"/>
          </a:xfrm>
        </p:spPr>
        <p:txBody>
          <a:bodyPr/>
          <a:lstStyle/>
          <a:p>
            <a:r>
              <a:rPr lang="ru-RU" dirty="0"/>
              <a:t>Играть становится </a:t>
            </a:r>
            <a:r>
              <a:rPr lang="ru-RU" dirty="0" smtClean="0"/>
              <a:t>интереснее</a:t>
            </a:r>
          </a:p>
        </p:txBody>
      </p:sp>
      <p:sp>
        <p:nvSpPr>
          <p:cNvPr id="4" name="Подзаголовок 2"/>
          <p:cNvSpPr txBox="1">
            <a:spLocks/>
          </p:cNvSpPr>
          <p:nvPr/>
        </p:nvSpPr>
        <p:spPr>
          <a:xfrm>
            <a:off x="415131" y="6280157"/>
            <a:ext cx="7443692" cy="276999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 algn="l" defTabSz="107289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None/>
              <a:defRPr lang="ru-RU" sz="2000" kern="1200" baseline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536447" indent="0" algn="ctr" defTabSz="107289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None/>
              <a:defRPr lang="ru-RU" sz="12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072892" indent="0" algn="ctr" defTabSz="107289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None/>
              <a:defRPr lang="ru-RU" sz="12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9338" indent="0" algn="ctr" defTabSz="107289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None/>
              <a:defRPr lang="ru-RU" sz="12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145785" indent="0" algn="ctr" defTabSz="107289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None/>
              <a:defRPr lang="ru-RU" sz="12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682231" indent="0" algn="ctr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218677" indent="0" algn="ctr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755123" indent="0" algn="ctr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291569" indent="0" algn="ctr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i="1" dirty="0"/>
              <a:t>Снежана </a:t>
            </a:r>
            <a:r>
              <a:rPr lang="ru-RU" sz="1200" i="1" dirty="0" err="1"/>
              <a:t>Черногорцева</a:t>
            </a:r>
            <a:r>
              <a:rPr lang="ru-RU" sz="1200" i="1" dirty="0"/>
              <a:t>, Мегафон</a:t>
            </a:r>
          </a:p>
        </p:txBody>
      </p:sp>
    </p:spTree>
    <p:extLst>
      <p:ext uri="{BB962C8B-B14F-4D97-AF65-F5344CB8AC3E}">
        <p14:creationId xmlns:p14="http://schemas.microsoft.com/office/powerpoint/2010/main" val="3815156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-1" y="0"/>
            <a:ext cx="12192000" cy="6857999"/>
          </a:xfrm>
          <a:prstGeom prst="rect">
            <a:avLst/>
          </a:prstGeom>
          <a:pattFill prst="pct90">
            <a:fgClr>
              <a:schemeClr val="accent1"/>
            </a:fgClr>
            <a:bgClr>
              <a:schemeClr val="bg1"/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Изображение 3"/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chemeClr val="accent4">
                <a:tint val="45000"/>
                <a:satMod val="400000"/>
              </a:schemeClr>
            </a:duotone>
            <a:alphaModFix amt="4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88"/>
          <a:stretch/>
        </p:blipFill>
        <p:spPr>
          <a:xfrm>
            <a:off x="-1" y="-1"/>
            <a:ext cx="12192000" cy="6858000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1955800" y="3013502"/>
            <a:ext cx="82804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</a:rPr>
              <a:t>Инвестиции ресурсов </a:t>
            </a:r>
            <a:r>
              <a:rPr lang="mr-IN" sz="2400" b="1" dirty="0">
                <a:solidFill>
                  <a:schemeClr val="bg1"/>
                </a:solidFill>
              </a:rPr>
              <a:t>–</a:t>
            </a:r>
            <a:r>
              <a:rPr lang="ru-RU" sz="2400" b="1" dirty="0">
                <a:solidFill>
                  <a:schemeClr val="bg1"/>
                </a:solidFill>
              </a:rPr>
              <a:t> критическое условие появления таких решений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10211192" y="6387198"/>
            <a:ext cx="1583997" cy="210459"/>
            <a:chOff x="10211192" y="6387198"/>
            <a:chExt cx="1583997" cy="210459"/>
          </a:xfrm>
        </p:grpSpPr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11611312" y="6418213"/>
              <a:ext cx="183877" cy="177229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10849222" y="6415998"/>
              <a:ext cx="221538" cy="179444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10211192" y="6387198"/>
              <a:ext cx="287999" cy="210459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10530207" y="6418213"/>
              <a:ext cx="159507" cy="177229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10720730" y="6418213"/>
              <a:ext cx="161723" cy="177229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11374267" y="6415998"/>
              <a:ext cx="208246" cy="181659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6" name="Freeform 12"/>
            <p:cNvSpPr>
              <a:spLocks noEditPoints="1"/>
            </p:cNvSpPr>
            <p:nvPr/>
          </p:nvSpPr>
          <p:spPr bwMode="auto">
            <a:xfrm>
              <a:off x="11066329" y="6391629"/>
              <a:ext cx="276922" cy="203813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</p:grpSp>
    </p:spTree>
    <p:extLst>
      <p:ext uri="{BB962C8B-B14F-4D97-AF65-F5344CB8AC3E}">
        <p14:creationId xmlns:p14="http://schemas.microsoft.com/office/powerpoint/2010/main" val="829990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одзаголовок 2"/>
          <p:cNvSpPr txBox="1">
            <a:spLocks/>
          </p:cNvSpPr>
          <p:nvPr/>
        </p:nvSpPr>
        <p:spPr>
          <a:xfrm>
            <a:off x="4727448" y="2852738"/>
            <a:ext cx="5303520" cy="78483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 algn="l" defTabSz="107289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None/>
              <a:defRPr lang="ru-RU" sz="2000" kern="1200" baseline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536447" indent="0" algn="ctr" defTabSz="107289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None/>
              <a:defRPr lang="ru-RU" sz="12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072892" indent="0" algn="ctr" defTabSz="107289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None/>
              <a:defRPr lang="ru-RU" sz="12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9338" indent="0" algn="ctr" defTabSz="107289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None/>
              <a:defRPr lang="ru-RU" sz="12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145785" indent="0" algn="ctr" defTabSz="107289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None/>
              <a:defRPr lang="ru-RU" sz="12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682231" indent="0" algn="ctr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218677" indent="0" algn="ctr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755123" indent="0" algn="ctr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291569" indent="0" algn="ctr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solidFill>
                  <a:srgbClr val="7030A0"/>
                </a:solidFill>
                <a:latin typeface="Verdana" charset="0"/>
                <a:ea typeface="Verdana" charset="0"/>
                <a:cs typeface="Verdana" charset="0"/>
              </a:rPr>
              <a:t>Снежана </a:t>
            </a:r>
            <a:r>
              <a:rPr lang="ru-RU" b="1" dirty="0" err="1">
                <a:solidFill>
                  <a:srgbClr val="7030A0"/>
                </a:solidFill>
                <a:latin typeface="Verdana" charset="0"/>
                <a:ea typeface="Verdana" charset="0"/>
                <a:cs typeface="Verdana" charset="0"/>
              </a:rPr>
              <a:t>Черногорцева</a:t>
            </a:r>
            <a:r>
              <a:rPr lang="ru-RU" b="1" dirty="0">
                <a:solidFill>
                  <a:srgbClr val="7030A0"/>
                </a:solidFill>
                <a:latin typeface="Verdana" charset="0"/>
                <a:ea typeface="Verdana" charset="0"/>
                <a:cs typeface="Verdana" charset="0"/>
              </a:rPr>
              <a:t>, Мегафон</a:t>
            </a:r>
          </a:p>
          <a:p>
            <a:r>
              <a:rPr lang="en-US" dirty="0" err="1" smtClean="0">
                <a:solidFill>
                  <a:srgbClr val="7030A0"/>
                </a:solidFill>
                <a:latin typeface="Verdana" charset="0"/>
                <a:ea typeface="Verdana" charset="0"/>
                <a:cs typeface="Verdana" charset="0"/>
              </a:rPr>
              <a:t>facebook.com</a:t>
            </a:r>
            <a:r>
              <a:rPr lang="en-US" dirty="0" smtClean="0">
                <a:solidFill>
                  <a:srgbClr val="7030A0"/>
                </a:solidFill>
                <a:latin typeface="Verdana" charset="0"/>
                <a:ea typeface="Verdana" charset="0"/>
                <a:cs typeface="Verdana" charset="0"/>
              </a:rPr>
              <a:t>/</a:t>
            </a:r>
            <a:r>
              <a:rPr lang="en-US" dirty="0" err="1" smtClean="0">
                <a:solidFill>
                  <a:srgbClr val="7030A0"/>
                </a:solidFill>
                <a:latin typeface="Verdana" charset="0"/>
                <a:ea typeface="Verdana" charset="0"/>
                <a:cs typeface="Verdana" charset="0"/>
              </a:rPr>
              <a:t>snezhana.chernogortseva</a:t>
            </a:r>
            <a:endParaRPr lang="ru-RU" dirty="0" smtClean="0">
              <a:solidFill>
                <a:srgbClr val="7030A0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pic>
        <p:nvPicPr>
          <p:cNvPr id="3" name="Изображение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74088" y="1834824"/>
            <a:ext cx="2318826" cy="2318826"/>
          </a:xfrm>
          <a:prstGeom prst="ellipse">
            <a:avLst/>
          </a:prstGeom>
        </p:spPr>
      </p:pic>
      <p:sp>
        <p:nvSpPr>
          <p:cNvPr id="8" name="Заголовок 1"/>
          <p:cNvSpPr txBox="1">
            <a:spLocks/>
          </p:cNvSpPr>
          <p:nvPr/>
        </p:nvSpPr>
        <p:spPr>
          <a:xfrm>
            <a:off x="4629674" y="2223035"/>
            <a:ext cx="4465674" cy="59477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39" b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3600" b="1" kern="0" dirty="0" smtClean="0">
                <a:solidFill>
                  <a:srgbClr val="7030A0"/>
                </a:solidFill>
              </a:rPr>
              <a:t>Обсудим?</a:t>
            </a:r>
            <a:endParaRPr lang="ru-RU" sz="3600" b="1" kern="0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602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1955800" y="3429000"/>
            <a:ext cx="8280399" cy="792000"/>
          </a:xfrm>
        </p:spPr>
        <p:txBody>
          <a:bodyPr/>
          <a:lstStyle/>
          <a:p>
            <a:r>
              <a:rPr lang="en-US" sz="3200" dirty="0"/>
              <a:t>«. . . advertising as we know it is going to change, and in a big way. And there are no guarantees on who will emerge the big winner».</a:t>
            </a:r>
            <a:endParaRPr lang="ru-RU" sz="32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2</a:t>
            </a:fld>
            <a:endParaRPr lang="ru-RU" sz="1400" dirty="0"/>
          </a:p>
        </p:txBody>
      </p:sp>
      <p:sp>
        <p:nvSpPr>
          <p:cNvPr id="10" name="Подзаголовок 2"/>
          <p:cNvSpPr txBox="1">
            <a:spLocks/>
          </p:cNvSpPr>
          <p:nvPr/>
        </p:nvSpPr>
        <p:spPr>
          <a:xfrm>
            <a:off x="1955800" y="4884738"/>
            <a:ext cx="7443692" cy="369332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 algn="l" defTabSz="107289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None/>
              <a:defRPr lang="ru-RU" sz="2000" kern="1200" baseline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536447" indent="0" algn="ctr" defTabSz="107289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None/>
              <a:defRPr lang="ru-RU" sz="12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072892" indent="0" algn="ctr" defTabSz="107289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None/>
              <a:defRPr lang="ru-RU" sz="12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9338" indent="0" algn="ctr" defTabSz="107289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None/>
              <a:defRPr lang="ru-RU" sz="12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145785" indent="0" algn="ctr" defTabSz="107289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None/>
              <a:defRPr lang="ru-RU" sz="12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682231" indent="0" algn="ctr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218677" indent="0" algn="ctr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755123" indent="0" algn="ctr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291569" indent="0" algn="ctr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i="1">
                <a:solidFill>
                  <a:srgbClr val="7030A0"/>
                </a:solidFill>
              </a:rPr>
              <a:t>Archie </a:t>
            </a:r>
            <a:r>
              <a:rPr lang="en-US" sz="1800" i="1" dirty="0" err="1">
                <a:solidFill>
                  <a:srgbClr val="7030A0"/>
                </a:solidFill>
              </a:rPr>
              <a:t>D'Cruz</a:t>
            </a:r>
            <a:r>
              <a:rPr lang="en-US" sz="1800" i="1" dirty="0">
                <a:solidFill>
                  <a:srgbClr val="7030A0"/>
                </a:solidFill>
              </a:rPr>
              <a:t> for Forbes US</a:t>
            </a:r>
            <a:endParaRPr lang="ru-RU" sz="1800" i="1" dirty="0" smtClean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926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-1" y="0"/>
            <a:ext cx="12192000" cy="6857999"/>
          </a:xfrm>
          <a:prstGeom prst="rect">
            <a:avLst/>
          </a:prstGeom>
          <a:pattFill prst="pct90">
            <a:fgClr>
              <a:schemeClr val="accent1"/>
            </a:fgClr>
            <a:bgClr>
              <a:schemeClr val="bg1"/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4"/>
          <p:cNvPicPr>
            <a:picLocks noChangeAspect="1"/>
          </p:cNvPicPr>
          <p:nvPr/>
        </p:nvPicPr>
        <p:blipFill rotWithShape="1">
          <a:blip r:embed="rId3">
            <a:alphaModFix amt="32000"/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4" r="2331" b="11138"/>
          <a:stretch/>
        </p:blipFill>
        <p:spPr>
          <a:xfrm>
            <a:off x="-2" y="1"/>
            <a:ext cx="12192001" cy="6857999"/>
          </a:xfrm>
          <a:prstGeom prst="rect">
            <a:avLst/>
          </a:prstGeom>
        </p:spPr>
      </p:pic>
      <p:sp>
        <p:nvSpPr>
          <p:cNvPr id="13" name="Заголовок 1"/>
          <p:cNvSpPr>
            <a:spLocks noGrp="1"/>
          </p:cNvSpPr>
          <p:nvPr>
            <p:ph type="ctrTitle"/>
          </p:nvPr>
        </p:nvSpPr>
        <p:spPr>
          <a:xfrm>
            <a:off x="1955800" y="2278031"/>
            <a:ext cx="8329846" cy="1513575"/>
          </a:xfrm>
        </p:spPr>
        <p:txBody>
          <a:bodyPr/>
          <a:lstStyle/>
          <a:p>
            <a:r>
              <a:rPr lang="ru-RU" sz="3200" b="1" dirty="0"/>
              <a:t>Брендам нужны бизнес-решения </a:t>
            </a:r>
            <a:r>
              <a:rPr lang="ru-RU" sz="3200" b="1" dirty="0" smtClean="0"/>
              <a:t/>
            </a:r>
            <a:br>
              <a:rPr lang="ru-RU" sz="3200" b="1" dirty="0" smtClean="0"/>
            </a:br>
            <a:r>
              <a:rPr lang="ru-RU" sz="3200" b="1" dirty="0" smtClean="0"/>
              <a:t>и </a:t>
            </a:r>
            <a:r>
              <a:rPr lang="ru-RU" sz="3200" b="1" dirty="0"/>
              <a:t>инструменты повышения ROI</a:t>
            </a:r>
          </a:p>
        </p:txBody>
      </p:sp>
      <p:grpSp>
        <p:nvGrpSpPr>
          <p:cNvPr id="15" name="Группа 14"/>
          <p:cNvGrpSpPr/>
          <p:nvPr/>
        </p:nvGrpSpPr>
        <p:grpSpPr>
          <a:xfrm>
            <a:off x="10211192" y="6387198"/>
            <a:ext cx="1583997" cy="210459"/>
            <a:chOff x="10211192" y="6387198"/>
            <a:chExt cx="1583997" cy="210459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1611312" y="6418213"/>
              <a:ext cx="183877" cy="177229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7" name="Freeform 7"/>
            <p:cNvSpPr>
              <a:spLocks noEditPoints="1"/>
            </p:cNvSpPr>
            <p:nvPr/>
          </p:nvSpPr>
          <p:spPr bwMode="auto">
            <a:xfrm>
              <a:off x="10849222" y="6415998"/>
              <a:ext cx="221538" cy="179444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10211192" y="6387198"/>
              <a:ext cx="287999" cy="210459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9" name="Freeform 9"/>
            <p:cNvSpPr>
              <a:spLocks/>
            </p:cNvSpPr>
            <p:nvPr/>
          </p:nvSpPr>
          <p:spPr bwMode="auto">
            <a:xfrm>
              <a:off x="10530207" y="6418213"/>
              <a:ext cx="159507" cy="177229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10720730" y="6418213"/>
              <a:ext cx="161723" cy="177229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11374267" y="6415998"/>
              <a:ext cx="208246" cy="181659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11066329" y="6391629"/>
              <a:ext cx="276922" cy="203813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</p:grpSp>
    </p:spTree>
    <p:extLst>
      <p:ext uri="{BB962C8B-B14F-4D97-AF65-F5344CB8AC3E}">
        <p14:creationId xmlns:p14="http://schemas.microsoft.com/office/powerpoint/2010/main" val="1267540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/>
          <p:nvPr/>
        </p:nvGrpSpPr>
        <p:grpSpPr>
          <a:xfrm>
            <a:off x="2138503" y="495300"/>
            <a:ext cx="7803216" cy="5867399"/>
            <a:chOff x="4467068" y="1515773"/>
            <a:chExt cx="6200931" cy="4780913"/>
          </a:xfrm>
        </p:grpSpPr>
        <p:pic>
          <p:nvPicPr>
            <p:cNvPr id="6" name="Рисунок 4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116"/>
            <a:stretch/>
          </p:blipFill>
          <p:spPr>
            <a:xfrm>
              <a:off x="4467068" y="2413100"/>
              <a:ext cx="6200931" cy="3883586"/>
            </a:xfrm>
            <a:prstGeom prst="rect">
              <a:avLst/>
            </a:prstGeom>
          </p:spPr>
        </p:pic>
        <p:pic>
          <p:nvPicPr>
            <p:cNvPr id="7" name="Рисунок 5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67068" y="1515773"/>
              <a:ext cx="6200931" cy="8973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59761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-1" y="0"/>
            <a:ext cx="12192000" cy="6857999"/>
          </a:xfrm>
          <a:prstGeom prst="rect">
            <a:avLst/>
          </a:prstGeom>
          <a:pattFill prst="pct90">
            <a:fgClr>
              <a:schemeClr val="accent1"/>
            </a:fgClr>
            <a:bgClr>
              <a:schemeClr val="bg1"/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" name="Рисунок 3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4">
                <a:tint val="45000"/>
                <a:satMod val="400000"/>
              </a:schemeClr>
            </a:duotone>
            <a:alphaModFix amt="33000"/>
          </a:blip>
          <a:stretch>
            <a:fillRect/>
          </a:stretch>
        </p:blipFill>
        <p:spPr>
          <a:xfrm>
            <a:off x="13013" y="-1"/>
            <a:ext cx="12191999" cy="6857999"/>
          </a:xfrm>
          <a:prstGeom prst="rect">
            <a:avLst/>
          </a:prstGeom>
        </p:spPr>
      </p:pic>
      <p:sp>
        <p:nvSpPr>
          <p:cNvPr id="13" name="Заголовок 1"/>
          <p:cNvSpPr>
            <a:spLocks noGrp="1"/>
          </p:cNvSpPr>
          <p:nvPr>
            <p:ph type="ctrTitle"/>
          </p:nvPr>
        </p:nvSpPr>
        <p:spPr>
          <a:xfrm>
            <a:off x="2270233" y="1978489"/>
            <a:ext cx="9104033" cy="1513575"/>
          </a:xfrm>
        </p:spPr>
        <p:txBody>
          <a:bodyPr/>
          <a:lstStyle/>
          <a:p>
            <a:r>
              <a:rPr lang="ru-RU" sz="3200" b="1" dirty="0"/>
              <a:t>Технология и решение </a:t>
            </a:r>
            <a:r>
              <a:rPr lang="en-US" sz="3200" b="1" dirty="0" smtClean="0"/>
              <a:t/>
            </a:r>
            <a:br>
              <a:rPr lang="en-US" sz="3200" b="1" dirty="0" smtClean="0"/>
            </a:br>
            <a:r>
              <a:rPr lang="ru-RU" sz="3200" b="1" dirty="0" smtClean="0"/>
              <a:t>– </a:t>
            </a:r>
            <a:r>
              <a:rPr lang="ru-RU" sz="3200" b="1" dirty="0"/>
              <a:t>не одно и то же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10211192" y="6387198"/>
            <a:ext cx="1583997" cy="210459"/>
            <a:chOff x="10211192" y="6387198"/>
            <a:chExt cx="1583997" cy="210459"/>
          </a:xfrm>
        </p:grpSpPr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11611312" y="6418213"/>
              <a:ext cx="183877" cy="177229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7" name="Freeform 7"/>
            <p:cNvSpPr>
              <a:spLocks noEditPoints="1"/>
            </p:cNvSpPr>
            <p:nvPr/>
          </p:nvSpPr>
          <p:spPr bwMode="auto">
            <a:xfrm>
              <a:off x="10849222" y="6415998"/>
              <a:ext cx="221538" cy="179444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10211192" y="6387198"/>
              <a:ext cx="287999" cy="210459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10530207" y="6418213"/>
              <a:ext cx="159507" cy="177229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10720730" y="6418213"/>
              <a:ext cx="161723" cy="177229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11374267" y="6415998"/>
              <a:ext cx="208246" cy="181659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1066329" y="6391629"/>
              <a:ext cx="276922" cy="203813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</p:grpSp>
    </p:spTree>
    <p:extLst>
      <p:ext uri="{BB962C8B-B14F-4D97-AF65-F5344CB8AC3E}">
        <p14:creationId xmlns:p14="http://schemas.microsoft.com/office/powerpoint/2010/main" val="949393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-1" y="0"/>
            <a:ext cx="12192000" cy="6857999"/>
          </a:xfrm>
          <a:prstGeom prst="rect">
            <a:avLst/>
          </a:prstGeom>
          <a:pattFill prst="pct90">
            <a:fgClr>
              <a:schemeClr val="accent1"/>
            </a:fgClr>
            <a:bgClr>
              <a:schemeClr val="bg1"/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Изображение 1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4">
                <a:tint val="45000"/>
                <a:satMod val="400000"/>
              </a:schemeClr>
            </a:duotone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017" y="0"/>
            <a:ext cx="12205016" cy="6858000"/>
          </a:xfrm>
          <a:prstGeom prst="rect">
            <a:avLst/>
          </a:prstGeom>
        </p:spPr>
      </p:pic>
      <p:sp>
        <p:nvSpPr>
          <p:cNvPr id="13" name="Заголовок 1"/>
          <p:cNvSpPr>
            <a:spLocks noGrp="1"/>
          </p:cNvSpPr>
          <p:nvPr>
            <p:ph type="ctrTitle"/>
          </p:nvPr>
        </p:nvSpPr>
        <p:spPr>
          <a:xfrm>
            <a:off x="1955800" y="1978489"/>
            <a:ext cx="8255392" cy="1513575"/>
          </a:xfrm>
        </p:spPr>
        <p:txBody>
          <a:bodyPr/>
          <a:lstStyle/>
          <a:p>
            <a:r>
              <a:rPr lang="ru-RU" sz="3200" b="1" dirty="0"/>
              <a:t>От конвейера к поточному производству 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10211192" y="6387198"/>
            <a:ext cx="1583997" cy="210459"/>
            <a:chOff x="10211192" y="6387198"/>
            <a:chExt cx="1583997" cy="210459"/>
          </a:xfrm>
        </p:grpSpPr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11611312" y="6418213"/>
              <a:ext cx="183877" cy="177229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7" name="Freeform 7"/>
            <p:cNvSpPr>
              <a:spLocks noEditPoints="1"/>
            </p:cNvSpPr>
            <p:nvPr/>
          </p:nvSpPr>
          <p:spPr bwMode="auto">
            <a:xfrm>
              <a:off x="10849222" y="6415998"/>
              <a:ext cx="221538" cy="179444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10211192" y="6387198"/>
              <a:ext cx="287999" cy="210459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10530207" y="6418213"/>
              <a:ext cx="159507" cy="177229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10720730" y="6418213"/>
              <a:ext cx="161723" cy="177229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11374267" y="6415998"/>
              <a:ext cx="208246" cy="181659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1066329" y="6391629"/>
              <a:ext cx="276922" cy="203813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</p:grpSp>
    </p:spTree>
    <p:extLst>
      <p:ext uri="{BB962C8B-B14F-4D97-AF65-F5344CB8AC3E}">
        <p14:creationId xmlns:p14="http://schemas.microsoft.com/office/powerpoint/2010/main" val="258866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ell EMC- IoT e o futuro do seguro de veículos.mp4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415925" y="982881"/>
            <a:ext cx="8329846" cy="1513575"/>
          </a:xfrm>
        </p:spPr>
        <p:txBody>
          <a:bodyPr/>
          <a:lstStyle/>
          <a:p>
            <a:r>
              <a:rPr lang="ru-RU" b="1" dirty="0"/>
              <a:t>Знание клиента определяет успех бизнеса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10211192" y="6387198"/>
            <a:ext cx="1583997" cy="210459"/>
            <a:chOff x="10211192" y="6387198"/>
            <a:chExt cx="1583997" cy="210459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11611312" y="6418213"/>
              <a:ext cx="183877" cy="177229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auto">
            <a:xfrm>
              <a:off x="10849222" y="6415998"/>
              <a:ext cx="221538" cy="179444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10211192" y="6387198"/>
              <a:ext cx="287999" cy="210459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10530207" y="6418213"/>
              <a:ext cx="159507" cy="177229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10720730" y="6418213"/>
              <a:ext cx="161723" cy="177229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1374267" y="6415998"/>
              <a:ext cx="208246" cy="181659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1066329" y="6391629"/>
              <a:ext cx="276922" cy="203813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-930166" y="8828690"/>
            <a:ext cx="914400" cy="914400"/>
          </a:xfrm>
          <a:prstGeom prst="rect">
            <a:avLst/>
          </a:prstGeom>
        </p:spPr>
        <p:txBody>
          <a:bodyPr vert="horz" wrap="none" lIns="107287" tIns="53643" rIns="107287" bIns="53643" rtlCol="0">
            <a:normAutofit/>
          </a:bodyPr>
          <a:lstStyle/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endParaRPr lang="ru-RU" sz="1400" dirty="0" smtClean="0"/>
          </a:p>
        </p:txBody>
      </p:sp>
    </p:spTree>
    <p:extLst>
      <p:ext uri="{BB962C8B-B14F-4D97-AF65-F5344CB8AC3E}">
        <p14:creationId xmlns:p14="http://schemas.microsoft.com/office/powerpoint/2010/main" val="16360783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3103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remove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-1" y="0"/>
            <a:ext cx="12192000" cy="6857999"/>
          </a:xfrm>
          <a:prstGeom prst="rect">
            <a:avLst/>
          </a:pr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Изображение 4"/>
          <p:cNvPicPr>
            <a:picLocks noChangeAspect="1"/>
          </p:cNvPicPr>
          <p:nvPr/>
        </p:nvPicPr>
        <p:blipFill rotWithShape="1">
          <a:blip r:embed="rId3" cstate="print">
            <a:grayscl/>
            <a:alphaModFix amt="4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51" r="9683"/>
          <a:stretch/>
        </p:blipFill>
        <p:spPr>
          <a:xfrm rot="5400000">
            <a:off x="2658525" y="-2675474"/>
            <a:ext cx="6857998" cy="12208950"/>
          </a:xfrm>
          <a:prstGeom prst="rect">
            <a:avLst/>
          </a:prstGeom>
        </p:spPr>
      </p:pic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1955800" y="3154023"/>
            <a:ext cx="8280399" cy="792000"/>
          </a:xfrm>
        </p:spPr>
        <p:txBody>
          <a:bodyPr/>
          <a:lstStyle/>
          <a:p>
            <a:r>
              <a:rPr lang="ru-RU" sz="3200" dirty="0"/>
              <a:t>Агентства должны стать «центром обработки инноваций» и конвертации их в значимые для бренда платформ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8</a:t>
            </a:fld>
            <a:endParaRPr lang="ru-RU" sz="1400" dirty="0"/>
          </a:p>
        </p:txBody>
      </p:sp>
      <p:grpSp>
        <p:nvGrpSpPr>
          <p:cNvPr id="8" name="Группа 7"/>
          <p:cNvGrpSpPr/>
          <p:nvPr/>
        </p:nvGrpSpPr>
        <p:grpSpPr>
          <a:xfrm>
            <a:off x="10211192" y="6387198"/>
            <a:ext cx="1583997" cy="210459"/>
            <a:chOff x="10211192" y="6387198"/>
            <a:chExt cx="1583997" cy="210459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1611312" y="6418213"/>
              <a:ext cx="183877" cy="177229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10849222" y="6415998"/>
              <a:ext cx="221538" cy="179444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10211192" y="6387198"/>
              <a:ext cx="287999" cy="210459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10530207" y="6418213"/>
              <a:ext cx="159507" cy="177229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10720730" y="6418213"/>
              <a:ext cx="161723" cy="177229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11374267" y="6415998"/>
              <a:ext cx="208246" cy="181659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  <p:sp>
          <p:nvSpPr>
            <p:cNvPr id="16" name="Freeform 12"/>
            <p:cNvSpPr>
              <a:spLocks noEditPoints="1"/>
            </p:cNvSpPr>
            <p:nvPr/>
          </p:nvSpPr>
          <p:spPr bwMode="auto">
            <a:xfrm>
              <a:off x="11066329" y="6391629"/>
              <a:ext cx="276922" cy="203813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790"/>
            </a:p>
          </p:txBody>
        </p:sp>
      </p:grpSp>
    </p:spTree>
    <p:extLst>
      <p:ext uri="{BB962C8B-B14F-4D97-AF65-F5344CB8AC3E}">
        <p14:creationId xmlns:p14="http://schemas.microsoft.com/office/powerpoint/2010/main" val="1023768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ими должны быть эти платформы?</a:t>
            </a:r>
          </a:p>
        </p:txBody>
      </p:sp>
      <p:sp>
        <p:nvSpPr>
          <p:cNvPr id="8" name="Объект 7"/>
          <p:cNvSpPr>
            <a:spLocks noGrp="1"/>
          </p:cNvSpPr>
          <p:nvPr>
            <p:ph idx="1"/>
          </p:nvPr>
        </p:nvSpPr>
        <p:spPr>
          <a:xfrm>
            <a:off x="1955801" y="997527"/>
            <a:ext cx="8280400" cy="5292000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endParaRPr lang="ru-RU" sz="1600" dirty="0" smtClean="0"/>
          </a:p>
          <a:p>
            <a:pPr marL="514350" indent="-514350">
              <a:buFont typeface="+mj-lt"/>
              <a:buAutoNum type="arabicPeriod"/>
            </a:pPr>
            <a:endParaRPr lang="ru-RU" sz="1600" dirty="0"/>
          </a:p>
          <a:p>
            <a:pPr marL="514350" indent="-514350">
              <a:buFont typeface="+mj-lt"/>
              <a:buAutoNum type="arabicPeriod"/>
            </a:pPr>
            <a:endParaRPr lang="ru-RU" sz="1600" dirty="0" smtClean="0"/>
          </a:p>
          <a:p>
            <a:pPr marL="514350" indent="-514350">
              <a:buFont typeface="+mj-lt"/>
              <a:buAutoNum type="arabicPeriod"/>
            </a:pPr>
            <a:endParaRPr lang="ru-RU" sz="1600" dirty="0"/>
          </a:p>
          <a:p>
            <a:pPr marL="514350" indent="-514350">
              <a:buFont typeface="+mj-lt"/>
              <a:buAutoNum type="arabicPeriod"/>
            </a:pPr>
            <a:r>
              <a:rPr lang="ru-RU" sz="1600" dirty="0" smtClean="0"/>
              <a:t>Улучшать </a:t>
            </a:r>
            <a:r>
              <a:rPr lang="ru-RU" sz="1600" dirty="0"/>
              <a:t>опыт взаимодействия потребителя с брендом</a:t>
            </a:r>
            <a:r>
              <a:rPr lang="en-US" sz="1600" dirty="0" smtClean="0"/>
              <a:t>;</a:t>
            </a:r>
            <a:endParaRPr lang="ru-RU" sz="1600" dirty="0"/>
          </a:p>
          <a:p>
            <a:pPr marL="514350" indent="-514350">
              <a:buFont typeface="+mj-lt"/>
              <a:buAutoNum type="arabicPeriod"/>
            </a:pPr>
            <a:r>
              <a:rPr lang="ru-RU" sz="1600" dirty="0"/>
              <a:t>Выстраивать систему партнерств для </a:t>
            </a:r>
            <a:r>
              <a:rPr lang="en-US" sz="1600" dirty="0"/>
              <a:t>customer journey</a:t>
            </a:r>
            <a:r>
              <a:rPr lang="ru-RU" sz="1600" dirty="0" smtClean="0"/>
              <a:t>;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1600" dirty="0" smtClean="0"/>
              <a:t>Зарабатывать/экономить реальные деньги;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1600" dirty="0" smtClean="0"/>
              <a:t>Помогать оптимально тратить имеющийся бюджет;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1600" dirty="0" smtClean="0"/>
              <a:t>Оптимизировать</a:t>
            </a:r>
            <a:r>
              <a:rPr lang="en-US" sz="1600" dirty="0" smtClean="0"/>
              <a:t>/</a:t>
            </a:r>
            <a:r>
              <a:rPr lang="ru-RU" sz="1600" dirty="0" smtClean="0"/>
              <a:t>переосмысливать текущие бизнес-процессы;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1600" dirty="0" smtClean="0"/>
              <a:t>Сокращать низкоквалифицированный труд.</a:t>
            </a:r>
          </a:p>
          <a:p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74419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vvC6H900afGVsP.5sU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Тема Office">
  <a:themeElements>
    <a:clrScheme name="Другая 1">
      <a:dk1>
        <a:sysClr val="windowText" lastClr="000000"/>
      </a:dk1>
      <a:lt1>
        <a:sysClr val="window" lastClr="FFFFFF"/>
      </a:lt1>
      <a:dk2>
        <a:srgbClr val="616365"/>
      </a:dk2>
      <a:lt2>
        <a:srgbClr val="FFFFFF"/>
      </a:lt2>
      <a:accent1>
        <a:srgbClr val="00985F"/>
      </a:accent1>
      <a:accent2>
        <a:srgbClr val="57068C"/>
      </a:accent2>
      <a:accent3>
        <a:srgbClr val="C0C2C4"/>
      </a:accent3>
      <a:accent4>
        <a:srgbClr val="00B380"/>
      </a:accent4>
      <a:accent5>
        <a:srgbClr val="7151A1"/>
      </a:accent5>
      <a:accent6>
        <a:srgbClr val="64C29B"/>
      </a:accent6>
      <a:hlink>
        <a:srgbClr val="9AD4B9"/>
      </a:hlink>
      <a:folHlink>
        <a:srgbClr val="DEDFE0"/>
      </a:folHlink>
    </a:clrScheme>
    <a:fontScheme name="Аспект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107287" tIns="53643" rIns="107287" bIns="53643" rtlCol="0">
        <a:normAutofit/>
      </a:bodyPr>
      <a:lstStyle>
        <a:defPPr marL="0" indent="0">
          <a:lnSpc>
            <a:spcPct val="110000"/>
          </a:lnSpc>
          <a:buFont typeface="Arial" panose="020B0604020202020204" pitchFamily="34" charset="0"/>
          <a:buNone/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Blank">
  <a:themeElements>
    <a:clrScheme name="Custom 46">
      <a:dk1>
        <a:srgbClr val="000000"/>
      </a:dk1>
      <a:lt1>
        <a:srgbClr val="FFFFFF"/>
      </a:lt1>
      <a:dk2>
        <a:srgbClr val="57068C"/>
      </a:dk2>
      <a:lt2>
        <a:srgbClr val="FFFFFF"/>
      </a:lt2>
      <a:accent1>
        <a:srgbClr val="E6E6E6"/>
      </a:accent1>
      <a:accent2>
        <a:srgbClr val="9DD085"/>
      </a:accent2>
      <a:accent3>
        <a:srgbClr val="00985F"/>
      </a:accent3>
      <a:accent4>
        <a:srgbClr val="57068C"/>
      </a:accent4>
      <a:accent5>
        <a:srgbClr val="FF6600"/>
      </a:accent5>
      <a:accent6>
        <a:srgbClr val="808080"/>
      </a:accent6>
      <a:hlink>
        <a:srgbClr val="00985F"/>
      </a:hlink>
      <a:folHlink>
        <a:srgbClr val="57068C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2" id="{BD0713D5-19DA-468D-A5F2-3C4032D4F554}" vid="{6A363FB0-51D5-4CB0-BD0C-E88C6EE57760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000</TotalTime>
  <Words>687</Words>
  <Application>Microsoft Macintosh PowerPoint</Application>
  <PresentationFormat>Широкоэкранный</PresentationFormat>
  <Paragraphs>59</Paragraphs>
  <Slides>11</Slides>
  <Notes>11</Notes>
  <HiddenSlides>0</HiddenSlides>
  <MMClips>1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8" baseType="lpstr">
      <vt:lpstr>Calibri</vt:lpstr>
      <vt:lpstr>Mangal</vt:lpstr>
      <vt:lpstr>Verdana</vt:lpstr>
      <vt:lpstr>Arial</vt:lpstr>
      <vt:lpstr>3_Тема Office</vt:lpstr>
      <vt:lpstr>Blank</vt:lpstr>
      <vt:lpstr>think-cell Slide</vt:lpstr>
      <vt:lpstr>Новые правила: как изменились роли игроков adtech-реальности</vt:lpstr>
      <vt:lpstr>«. . . advertising as we know it is going to change, and in a big way. And there are no guarantees on who will emerge the big winner».</vt:lpstr>
      <vt:lpstr>Брендам нужны бизнес-решения  и инструменты повышения ROI</vt:lpstr>
      <vt:lpstr>Презентация PowerPoint</vt:lpstr>
      <vt:lpstr>Технология и решение  – не одно и то же</vt:lpstr>
      <vt:lpstr>От конвейера к поточному производству </vt:lpstr>
      <vt:lpstr>Знание клиента определяет успех бизнеса</vt:lpstr>
      <vt:lpstr>Агентства должны стать «центром обработки инноваций» и конвертации их в значимые для бренда платформы</vt:lpstr>
      <vt:lpstr>Какими должны быть эти платформы?</vt:lpstr>
      <vt:lpstr>Презентация PowerPoint</vt:lpstr>
      <vt:lpstr>Презентация PowerPoint</vt:lpstr>
    </vt:vector>
  </TitlesOfParts>
  <Company>MegaFon</Company>
  <LinksUpToDate>false</LinksUpToDate>
  <SharedDoc>false</SharedDoc>
  <HyperlinksChanged>false</HyperlinksChanged>
  <AppVersion>15.003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avin Alexey;svetlana.bashlyk@Megafon.ru</dc:creator>
  <cp:lastModifiedBy>пользователь Microsoft Office</cp:lastModifiedBy>
  <cp:revision>589</cp:revision>
  <cp:lastPrinted>2014-04-16T12:56:12Z</cp:lastPrinted>
  <dcterms:created xsi:type="dcterms:W3CDTF">2014-01-17T07:16:58Z</dcterms:created>
  <dcterms:modified xsi:type="dcterms:W3CDTF">2017-05-23T11:32:07Z</dcterms:modified>
</cp:coreProperties>
</file>